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5" r:id="rId1"/>
  </p:sldMasterIdLst>
  <p:notesMasterIdLst>
    <p:notesMasterId r:id="rId16"/>
  </p:notesMasterIdLst>
  <p:sldIdLst>
    <p:sldId id="256" r:id="rId2"/>
    <p:sldId id="258" r:id="rId3"/>
    <p:sldId id="257" r:id="rId4"/>
    <p:sldId id="259" r:id="rId5"/>
    <p:sldId id="260" r:id="rId6"/>
    <p:sldId id="261" r:id="rId7"/>
    <p:sldId id="262" r:id="rId8"/>
    <p:sldId id="264" r:id="rId9"/>
    <p:sldId id="263" r:id="rId10"/>
    <p:sldId id="274" r:id="rId11"/>
    <p:sldId id="286" r:id="rId12"/>
    <p:sldId id="270" r:id="rId13"/>
    <p:sldId id="272" r:id="rId14"/>
    <p:sldId id="285" r:id="rId15"/>
  </p:sldIdLst>
  <p:sldSz cx="9144000" cy="5143500" type="screen16x9"/>
  <p:notesSz cx="6858000" cy="9144000"/>
  <p:embeddedFontLst>
    <p:embeddedFont>
      <p:font typeface="Ubuntu Light" panose="020B0604020202020204" charset="0"/>
      <p:regular r:id="rId17"/>
      <p:bold r:id="rId18"/>
      <p:italic r:id="rId19"/>
      <p:boldItalic r:id="rId20"/>
    </p:embeddedFont>
    <p:embeddedFont>
      <p:font typeface="Arvo" panose="020B0604020202020204" charset="0"/>
      <p:regular r:id="rId21"/>
      <p:bold r:id="rId22"/>
      <p:italic r:id="rId23"/>
      <p:boldItalic r:id="rId24"/>
    </p:embeddedFont>
    <p:embeddedFont>
      <p:font typeface="Calibri" panose="020F0502020204030204" pitchFamily="34" charset="0"/>
      <p:regular r:id="rId25"/>
      <p:bold r:id="rId26"/>
    </p:embeddedFont>
    <p:embeddedFont>
      <p:font typeface="Ubuntu" panose="020B0604020202020204" charset="0"/>
      <p:regular r:id="rId27"/>
      <p:bold r:id="rId28"/>
      <p:italic r:id="rId29"/>
      <p:boldItalic r:id="rId30"/>
    </p:embeddedFont>
    <p:embeddedFont>
      <p:font typeface="Bodoni" panose="020B0604020202020204" charset="0"/>
      <p:regular r:id="rId31"/>
      <p:bold r:id="rId32"/>
      <p:italic r:id="rId33"/>
      <p:boldItalic r:id="rId34"/>
    </p:embeddedFont>
    <p:embeddedFont>
      <p:font typeface="Ubuntu Medium" panose="020B0604020202020204" charset="0"/>
      <p:regular r:id="rId35"/>
      <p:bold r:id="rId36"/>
      <p:italic r:id="rId37"/>
      <p:boldItalic r:id="rId38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3053">
          <p15:clr>
            <a:srgbClr val="A4A3A4"/>
          </p15:clr>
        </p15:guide>
        <p15:guide id="3" orient="horz" pos="2871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48FF324-D5AF-49EA-A2E9-B6584FF6F7AD}">
  <a:tblStyle styleId="{548FF324-D5AF-49EA-A2E9-B6584FF6F7AD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>
    <p:restoredLeft sz="15620"/>
    <p:restoredTop sz="94660"/>
  </p:normalViewPr>
  <p:slideViewPr>
    <p:cSldViewPr snapToGrid="0">
      <p:cViewPr varScale="1">
        <p:scale>
          <a:sx n="92" d="100"/>
          <a:sy n="92" d="100"/>
        </p:scale>
        <p:origin x="540" y="52"/>
      </p:cViewPr>
      <p:guideLst>
        <p:guide orient="horz"/>
        <p:guide orient="horz" pos="3053"/>
        <p:guide orient="horz" pos="2871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39" Type="http://schemas.openxmlformats.org/officeDocument/2006/relationships/presProps" Target="presProps.xml"/><Relationship Id="rId21" Type="http://schemas.openxmlformats.org/officeDocument/2006/relationships/font" Target="fonts/font5.fntdata"/><Relationship Id="rId34" Type="http://schemas.openxmlformats.org/officeDocument/2006/relationships/font" Target="fonts/font18.fntdata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29" Type="http://schemas.openxmlformats.org/officeDocument/2006/relationships/font" Target="fonts/font13.fntdata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8.fntdata"/><Relationship Id="rId32" Type="http://schemas.openxmlformats.org/officeDocument/2006/relationships/font" Target="fonts/font16.fntdata"/><Relationship Id="rId37" Type="http://schemas.openxmlformats.org/officeDocument/2006/relationships/font" Target="fonts/font21.fntdata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7.fntdata"/><Relationship Id="rId28" Type="http://schemas.openxmlformats.org/officeDocument/2006/relationships/font" Target="fonts/font12.fntdata"/><Relationship Id="rId36" Type="http://schemas.openxmlformats.org/officeDocument/2006/relationships/font" Target="fonts/font20.fntdata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31" Type="http://schemas.openxmlformats.org/officeDocument/2006/relationships/font" Target="fonts/font1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6.fntdata"/><Relationship Id="rId27" Type="http://schemas.openxmlformats.org/officeDocument/2006/relationships/font" Target="fonts/font11.fntdata"/><Relationship Id="rId30" Type="http://schemas.openxmlformats.org/officeDocument/2006/relationships/font" Target="fonts/font14.fntdata"/><Relationship Id="rId35" Type="http://schemas.openxmlformats.org/officeDocument/2006/relationships/font" Target="fonts/font19.fntdata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33" Type="http://schemas.openxmlformats.org/officeDocument/2006/relationships/font" Target="fonts/font17.fntdata"/><Relationship Id="rId38" Type="http://schemas.openxmlformats.org/officeDocument/2006/relationships/font" Target="fonts/font22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g442eb61d9d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7" name="Google Shape;187;g442eb61d9d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6" name="Google Shape;666;g442eb61d9d_0_4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67" name="Google Shape;667;g442eb61d9d_0_44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442eb61d9d_0_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442eb61d9d_0_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g442eb61d9d_0_4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2" name="Google Shape;342;g442eb61d9d_0_4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8" name="Google Shape;908;g442eb61d9d_0_7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09" name="Google Shape;909;g442eb61d9d_0_7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g442eb61d9d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8" name="Google Shape;208;g442eb61d9d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442eb61d9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442eb61d9d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442eb61d9d_0_6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442eb61d9d_0_6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g442eb61d9d_0_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4" name="Google Shape;224;g442eb61d9d_0_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g442eb61d9d_0_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1" name="Google Shape;231;g442eb61d9d_0_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Google Shape;254;g442eb61d9d_0_6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5" name="Google Shape;255;g442eb61d9d_0_6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g442eb61d9d_0_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4" name="Google Shape;244;g442eb61d9d_0_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Title slide" type="title">
  <p:cSld name="TITLE"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/>
          <p:nvPr/>
        </p:nvSpPr>
        <p:spPr>
          <a:xfrm>
            <a:off x="676300" y="321200"/>
            <a:ext cx="4885500" cy="443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434343"/>
              </a:solidFill>
            </a:endParaRPr>
          </a:p>
        </p:txBody>
      </p:sp>
      <p:sp>
        <p:nvSpPr>
          <p:cNvPr id="11" name="Google Shape;11;p2"/>
          <p:cNvSpPr txBox="1">
            <a:spLocks noGrp="1"/>
          </p:cNvSpPr>
          <p:nvPr>
            <p:ph type="ctrTitle"/>
          </p:nvPr>
        </p:nvSpPr>
        <p:spPr>
          <a:xfrm>
            <a:off x="1610650" y="1856275"/>
            <a:ext cx="6157800" cy="875700"/>
          </a:xfrm>
          <a:prstGeom prst="rect">
            <a:avLst/>
          </a:prstGeom>
          <a:ln w="38100" cap="flat" cmpd="sng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 b="1">
                <a:solidFill>
                  <a:schemeClr val="bg1">
                    <a:lumMod val="95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9pPr>
          </a:lstStyle>
          <a:p>
            <a:endParaRPr dirty="0"/>
          </a:p>
        </p:txBody>
      </p:sp>
      <p:sp>
        <p:nvSpPr>
          <p:cNvPr id="4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 &amp; some text slide 2">
  <p:cSld name="BIG_NUMBER_2">
    <p:bg>
      <p:bgPr>
        <a:solidFill>
          <a:schemeClr val="lt1"/>
        </a:solidFill>
        <a:effectLst/>
      </p:bgPr>
    </p:bg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16"/>
          <p:cNvSpPr/>
          <p:nvPr/>
        </p:nvSpPr>
        <p:spPr>
          <a:xfrm>
            <a:off x="406950" y="352200"/>
            <a:ext cx="8330100" cy="4311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16"/>
          <p:cNvSpPr txBox="1">
            <a:spLocks noGrp="1"/>
          </p:cNvSpPr>
          <p:nvPr>
            <p:ph type="title" hasCustomPrompt="1"/>
          </p:nvPr>
        </p:nvSpPr>
        <p:spPr>
          <a:xfrm>
            <a:off x="742950" y="1238100"/>
            <a:ext cx="7729500" cy="1963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 b="1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125" name="Google Shape;125;p1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126" name="Google Shape;126;p16"/>
          <p:cNvSpPr txBox="1">
            <a:spLocks noGrp="1"/>
          </p:cNvSpPr>
          <p:nvPr>
            <p:ph type="subTitle" idx="1"/>
          </p:nvPr>
        </p:nvSpPr>
        <p:spPr>
          <a:xfrm>
            <a:off x="2433300" y="3015325"/>
            <a:ext cx="42774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bg>
      <p:bgPr>
        <a:solidFill>
          <a:schemeClr val="lt1"/>
        </a:solidFill>
        <a:effectLst/>
      </p:bgPr>
    </p:bg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hite frame">
  <p:cSld name="BLANK_1_1">
    <p:bg>
      <p:bgPr>
        <a:solidFill>
          <a:schemeClr val="lt1"/>
        </a:solidFill>
        <a:effectLst/>
      </p:bgPr>
    </p:bg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p19"/>
          <p:cNvSpPr/>
          <p:nvPr/>
        </p:nvSpPr>
        <p:spPr>
          <a:xfrm>
            <a:off x="406950" y="416250"/>
            <a:ext cx="8330100" cy="4311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title with cyan frame">
  <p:cSld name="CUSTOM_1_1_1">
    <p:bg>
      <p:bgPr>
        <a:solidFill>
          <a:schemeClr val="lt1"/>
        </a:solidFill>
        <a:effectLst/>
      </p:bgPr>
    </p:bg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Google Shape;146;p21"/>
          <p:cNvSpPr/>
          <p:nvPr/>
        </p:nvSpPr>
        <p:spPr>
          <a:xfrm>
            <a:off x="4609950" y="-11150"/>
            <a:ext cx="4545300" cy="521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7" name="Google Shape;147;p2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solidFill>
                  <a:schemeClr val="bg1">
                    <a:lumMod val="85000"/>
                  </a:schemeClr>
                </a:solidFill>
              </a:defRPr>
            </a:lvl1pPr>
            <a:lvl2pPr lvl="1" rtl="0">
              <a:buNone/>
              <a:defRPr>
                <a:solidFill>
                  <a:srgbClr val="D9D9D9"/>
                </a:solidFill>
              </a:defRPr>
            </a:lvl2pPr>
            <a:lvl3pPr lvl="2" rtl="0">
              <a:buNone/>
              <a:defRPr>
                <a:solidFill>
                  <a:srgbClr val="D9D9D9"/>
                </a:solidFill>
              </a:defRPr>
            </a:lvl3pPr>
            <a:lvl4pPr lvl="3" rtl="0">
              <a:buNone/>
              <a:defRPr>
                <a:solidFill>
                  <a:srgbClr val="D9D9D9"/>
                </a:solidFill>
              </a:defRPr>
            </a:lvl4pPr>
            <a:lvl5pPr lvl="4" rtl="0">
              <a:buNone/>
              <a:defRPr>
                <a:solidFill>
                  <a:srgbClr val="D9D9D9"/>
                </a:solidFill>
              </a:defRPr>
            </a:lvl5pPr>
            <a:lvl6pPr lvl="5" rtl="0">
              <a:buNone/>
              <a:defRPr>
                <a:solidFill>
                  <a:srgbClr val="D9D9D9"/>
                </a:solidFill>
              </a:defRPr>
            </a:lvl6pPr>
            <a:lvl7pPr lvl="6" rtl="0">
              <a:buNone/>
              <a:defRPr>
                <a:solidFill>
                  <a:srgbClr val="D9D9D9"/>
                </a:solidFill>
              </a:defRPr>
            </a:lvl7pPr>
            <a:lvl8pPr lvl="7" rtl="0">
              <a:buNone/>
              <a:defRPr>
                <a:solidFill>
                  <a:srgbClr val="D9D9D9"/>
                </a:solidFill>
              </a:defRPr>
            </a:lvl8pPr>
            <a:lvl9pPr lvl="8" rtl="0">
              <a:buNone/>
              <a:defRPr>
                <a:solidFill>
                  <a:srgbClr val="D9D9D9"/>
                </a:solidFill>
              </a:defRPr>
            </a:lvl9pPr>
          </a:lstStyle>
          <a:p>
            <a:endParaRPr lang="en-US" smtClean="0"/>
          </a:p>
          <a:p>
            <a:fld id="{00000000-1234-1234-1234-123412341234}" type="slidenum">
              <a:rPr lang="es" smtClean="0"/>
              <a:pPr/>
              <a:t>‹#›</a:t>
            </a:fld>
            <a:endParaRPr dirty="0"/>
          </a:p>
        </p:txBody>
      </p:sp>
      <p:sp>
        <p:nvSpPr>
          <p:cNvPr id="148" name="Google Shape;148;p21"/>
          <p:cNvSpPr txBox="1">
            <a:spLocks noGrp="1"/>
          </p:cNvSpPr>
          <p:nvPr>
            <p:ph type="title"/>
          </p:nvPr>
        </p:nvSpPr>
        <p:spPr>
          <a:xfrm>
            <a:off x="626079" y="980260"/>
            <a:ext cx="3571500" cy="5781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b="1">
                <a:solidFill>
                  <a:schemeClr val="bg1">
                    <a:lumMod val="50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2pPr>
            <a:lvl3pPr lvl="2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3pPr>
            <a:lvl4pPr lvl="3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4pPr>
            <a:lvl5pPr lvl="4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5pPr>
            <a:lvl6pPr lvl="5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6pPr>
            <a:lvl7pPr lvl="6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7pPr>
            <a:lvl8pPr lvl="7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8pPr>
            <a:lvl9pPr lvl="8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9pPr>
          </a:lstStyle>
          <a:p>
            <a:endParaRPr dirty="0"/>
          </a:p>
        </p:txBody>
      </p:sp>
      <p:sp>
        <p:nvSpPr>
          <p:cNvPr id="149" name="Google Shape;149;p21"/>
          <p:cNvSpPr txBox="1">
            <a:spLocks noGrp="1"/>
          </p:cNvSpPr>
          <p:nvPr>
            <p:ph type="subTitle" idx="1"/>
          </p:nvPr>
        </p:nvSpPr>
        <p:spPr>
          <a:xfrm>
            <a:off x="626079" y="2261500"/>
            <a:ext cx="3606600" cy="1941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cxnSp>
        <p:nvCxnSpPr>
          <p:cNvPr id="150" name="Google Shape;150;p21"/>
          <p:cNvCxnSpPr/>
          <p:nvPr/>
        </p:nvCxnSpPr>
        <p:spPr>
          <a:xfrm>
            <a:off x="737850" y="1597475"/>
            <a:ext cx="676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51" name="Google Shape;151;p21"/>
          <p:cNvSpPr txBox="1">
            <a:spLocks noGrp="1"/>
          </p:cNvSpPr>
          <p:nvPr>
            <p:ph type="subTitle" idx="2"/>
          </p:nvPr>
        </p:nvSpPr>
        <p:spPr>
          <a:xfrm>
            <a:off x="5079304" y="2261500"/>
            <a:ext cx="3606600" cy="1941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>
                    <a:lumMod val="8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yan with title and text">
  <p:cSld name="CUSTOM_7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25"/>
          <p:cNvSpPr/>
          <p:nvPr/>
        </p:nvSpPr>
        <p:spPr>
          <a:xfrm>
            <a:off x="-73650" y="-11150"/>
            <a:ext cx="9228900" cy="521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7" name="Google Shape;167;p25"/>
          <p:cNvSpPr/>
          <p:nvPr/>
        </p:nvSpPr>
        <p:spPr>
          <a:xfrm>
            <a:off x="1430400" y="653850"/>
            <a:ext cx="6283200" cy="38358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68" name="Google Shape;168;p25"/>
          <p:cNvSpPr/>
          <p:nvPr/>
        </p:nvSpPr>
        <p:spPr>
          <a:xfrm>
            <a:off x="1430400" y="1371450"/>
            <a:ext cx="1147200" cy="39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9" name="Google Shape;169;p25"/>
          <p:cNvSpPr txBox="1">
            <a:spLocks noGrp="1"/>
          </p:cNvSpPr>
          <p:nvPr>
            <p:ph type="title"/>
          </p:nvPr>
        </p:nvSpPr>
        <p:spPr>
          <a:xfrm>
            <a:off x="2675900" y="1220035"/>
            <a:ext cx="39261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 dirty="0"/>
          </a:p>
        </p:txBody>
      </p:sp>
      <p:sp>
        <p:nvSpPr>
          <p:cNvPr id="170" name="Google Shape;170;p25"/>
          <p:cNvSpPr txBox="1">
            <a:spLocks noGrp="1"/>
          </p:cNvSpPr>
          <p:nvPr>
            <p:ph type="subTitle" idx="1"/>
          </p:nvPr>
        </p:nvSpPr>
        <p:spPr>
          <a:xfrm>
            <a:off x="2675901" y="2547750"/>
            <a:ext cx="3136200" cy="1941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 dirty="0"/>
          </a:p>
        </p:txBody>
      </p:sp>
      <p:sp>
        <p:nvSpPr>
          <p:cNvPr id="7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8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Content" type="secHead">
  <p:cSld name="SECTION_HEADER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title"/>
          </p:nvPr>
        </p:nvSpPr>
        <p:spPr>
          <a:xfrm>
            <a:off x="4698275" y="189950"/>
            <a:ext cx="5311200" cy="1114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4696224" y="170944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16" name="Google Shape;16;p3"/>
          <p:cNvSpPr/>
          <p:nvPr/>
        </p:nvSpPr>
        <p:spPr>
          <a:xfrm>
            <a:off x="4572000" y="429350"/>
            <a:ext cx="2772000" cy="635700"/>
          </a:xfrm>
          <a:prstGeom prst="rect">
            <a:avLst/>
          </a:prstGeom>
          <a:noFill/>
          <a:ln w="38100" cap="flat" cmpd="sng">
            <a:solidFill>
              <a:schemeClr val="bg1">
                <a:lumMod val="6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7" name="Google Shape;17;p3"/>
          <p:cNvSpPr txBox="1">
            <a:spLocks noGrp="1"/>
          </p:cNvSpPr>
          <p:nvPr>
            <p:ph type="title" idx="2"/>
          </p:nvPr>
        </p:nvSpPr>
        <p:spPr>
          <a:xfrm>
            <a:off x="4696225" y="1198788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sp>
        <p:nvSpPr>
          <p:cNvPr id="18" name="Google Shape;18;p3"/>
          <p:cNvSpPr txBox="1">
            <a:spLocks noGrp="1"/>
          </p:cNvSpPr>
          <p:nvPr>
            <p:ph type="subTitle" idx="3"/>
          </p:nvPr>
        </p:nvSpPr>
        <p:spPr>
          <a:xfrm>
            <a:off x="4696224" y="283667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/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title" idx="4"/>
          </p:nvPr>
        </p:nvSpPr>
        <p:spPr>
          <a:xfrm>
            <a:off x="4696225" y="2326013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3"/>
          <p:cNvSpPr txBox="1">
            <a:spLocks noGrp="1"/>
          </p:cNvSpPr>
          <p:nvPr>
            <p:ph type="subTitle" idx="5"/>
          </p:nvPr>
        </p:nvSpPr>
        <p:spPr>
          <a:xfrm>
            <a:off x="4696224" y="3967490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/>
            </a:lvl9pPr>
          </a:lstStyle>
          <a:p>
            <a:endParaRPr/>
          </a:p>
        </p:txBody>
      </p:sp>
      <p:sp>
        <p:nvSpPr>
          <p:cNvPr id="21" name="Google Shape;21;p3"/>
          <p:cNvSpPr txBox="1">
            <a:spLocks noGrp="1"/>
          </p:cNvSpPr>
          <p:nvPr>
            <p:ph type="title" idx="6"/>
          </p:nvPr>
        </p:nvSpPr>
        <p:spPr>
          <a:xfrm>
            <a:off x="4696225" y="3453254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2" name="Google Shape;22;p3"/>
          <p:cNvSpPr/>
          <p:nvPr/>
        </p:nvSpPr>
        <p:spPr>
          <a:xfrm>
            <a:off x="0" y="0"/>
            <a:ext cx="28557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" name="Google Shape;23;p3"/>
          <p:cNvSpPr/>
          <p:nvPr/>
        </p:nvSpPr>
        <p:spPr>
          <a:xfrm>
            <a:off x="3582225" y="1426175"/>
            <a:ext cx="838800" cy="819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4;p3"/>
          <p:cNvSpPr/>
          <p:nvPr/>
        </p:nvSpPr>
        <p:spPr>
          <a:xfrm>
            <a:off x="3582225" y="2553400"/>
            <a:ext cx="838800" cy="819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3"/>
          <p:cNvSpPr/>
          <p:nvPr/>
        </p:nvSpPr>
        <p:spPr>
          <a:xfrm>
            <a:off x="3582225" y="3680625"/>
            <a:ext cx="838800" cy="819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" name="Google Shape;26;p3"/>
          <p:cNvSpPr txBox="1">
            <a:spLocks noGrp="1"/>
          </p:cNvSpPr>
          <p:nvPr>
            <p:ph type="title" idx="7" hasCustomPrompt="1"/>
          </p:nvPr>
        </p:nvSpPr>
        <p:spPr>
          <a:xfrm>
            <a:off x="3372225" y="151827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 b="1">
                <a:solidFill>
                  <a:schemeClr val="bg1">
                    <a:lumMod val="95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r>
              <a:rPr dirty="0"/>
              <a:t>xx%</a:t>
            </a:r>
          </a:p>
        </p:txBody>
      </p:sp>
      <p:sp>
        <p:nvSpPr>
          <p:cNvPr id="27" name="Google Shape;27;p3"/>
          <p:cNvSpPr txBox="1">
            <a:spLocks noGrp="1"/>
          </p:cNvSpPr>
          <p:nvPr>
            <p:ph type="title" idx="8" hasCustomPrompt="1"/>
          </p:nvPr>
        </p:nvSpPr>
        <p:spPr>
          <a:xfrm>
            <a:off x="3372225" y="2645500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 b="1">
                <a:solidFill>
                  <a:schemeClr val="bg1">
                    <a:lumMod val="85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r>
              <a:t>xx%</a:t>
            </a:r>
          </a:p>
        </p:txBody>
      </p:sp>
      <p:sp>
        <p:nvSpPr>
          <p:cNvPr id="28" name="Google Shape;28;p3"/>
          <p:cNvSpPr txBox="1">
            <a:spLocks noGrp="1"/>
          </p:cNvSpPr>
          <p:nvPr>
            <p:ph type="title" idx="9" hasCustomPrompt="1"/>
          </p:nvPr>
        </p:nvSpPr>
        <p:spPr>
          <a:xfrm>
            <a:off x="3372225" y="377272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 b="1">
                <a:solidFill>
                  <a:schemeClr val="bg1">
                    <a:lumMod val="85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r>
              <a:t>xx%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title">
  <p:cSld name="SECTION_HEADER_1">
    <p:bg>
      <p:bgPr>
        <a:solidFill>
          <a:schemeClr val="lt1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6"/>
          <p:cNvSpPr txBox="1">
            <a:spLocks noGrp="1"/>
          </p:cNvSpPr>
          <p:nvPr>
            <p:ph type="title"/>
          </p:nvPr>
        </p:nvSpPr>
        <p:spPr>
          <a:xfrm>
            <a:off x="570047" y="993900"/>
            <a:ext cx="3055500" cy="1114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42" name="Google Shape;42;p6"/>
          <p:cNvSpPr txBox="1">
            <a:spLocks noGrp="1"/>
          </p:cNvSpPr>
          <p:nvPr>
            <p:ph type="subTitle" idx="1"/>
          </p:nvPr>
        </p:nvSpPr>
        <p:spPr>
          <a:xfrm>
            <a:off x="614775" y="2564775"/>
            <a:ext cx="29208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cxnSp>
        <p:nvCxnSpPr>
          <p:cNvPr id="44" name="Google Shape;44;p6"/>
          <p:cNvCxnSpPr/>
          <p:nvPr/>
        </p:nvCxnSpPr>
        <p:spPr>
          <a:xfrm>
            <a:off x="678525" y="2060575"/>
            <a:ext cx="676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">
  <p:cSld name="CUSTOM">
    <p:bg>
      <p:bgPr>
        <a:solidFill>
          <a:schemeClr val="lt1"/>
        </a:solidFill>
        <a:effectLst/>
      </p:bgPr>
    </p:bg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7"/>
          <p:cNvSpPr/>
          <p:nvPr/>
        </p:nvSpPr>
        <p:spPr>
          <a:xfrm>
            <a:off x="1395500" y="892500"/>
            <a:ext cx="6189000" cy="2731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" name="Google Shape;47;p7"/>
          <p:cNvSpPr txBox="1">
            <a:spLocks noGrp="1"/>
          </p:cNvSpPr>
          <p:nvPr>
            <p:ph type="subTitle" idx="1"/>
          </p:nvPr>
        </p:nvSpPr>
        <p:spPr>
          <a:xfrm>
            <a:off x="1894475" y="1126950"/>
            <a:ext cx="5397600" cy="2100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bg1">
                    <a:lumMod val="9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endParaRPr dirty="0"/>
          </a:p>
        </p:txBody>
      </p:sp>
      <p:sp>
        <p:nvSpPr>
          <p:cNvPr id="48" name="Google Shape;48;p7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49" name="Google Shape;49;p7"/>
          <p:cNvSpPr txBox="1">
            <a:spLocks noGrp="1"/>
          </p:cNvSpPr>
          <p:nvPr>
            <p:ph type="subTitle" idx="2"/>
          </p:nvPr>
        </p:nvSpPr>
        <p:spPr>
          <a:xfrm>
            <a:off x="1894475" y="2977400"/>
            <a:ext cx="29208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>
                    <a:lumMod val="8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body slide" type="tx">
  <p:cSld name="TITLE_AND_BODY">
    <p:bg>
      <p:bgPr>
        <a:solidFill>
          <a:schemeClr val="l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8"/>
          <p:cNvSpPr/>
          <p:nvPr/>
        </p:nvSpPr>
        <p:spPr>
          <a:xfrm>
            <a:off x="406950" y="352200"/>
            <a:ext cx="8330100" cy="43110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" name="Google Shape;52;p8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bg1">
                    <a:lumMod val="50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9pPr>
          </a:lstStyle>
          <a:p>
            <a:endParaRPr/>
          </a:p>
        </p:txBody>
      </p:sp>
      <p:sp>
        <p:nvSpPr>
          <p:cNvPr id="53" name="Google Shape;53;p8"/>
          <p:cNvSpPr txBox="1">
            <a:spLocks noGrp="1"/>
          </p:cNvSpPr>
          <p:nvPr>
            <p:ph type="body" idx="1"/>
          </p:nvPr>
        </p:nvSpPr>
        <p:spPr>
          <a:xfrm>
            <a:off x="1454050" y="1904925"/>
            <a:ext cx="5877000" cy="250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400"/>
            </a:lvl2pPr>
            <a:lvl3pPr marL="1371600" lvl="2" indent="-3111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21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Char char="■"/>
              <a:defRPr sz="1000"/>
            </a:lvl9pPr>
          </a:lstStyle>
          <a:p>
            <a:endParaRPr/>
          </a:p>
        </p:txBody>
      </p:sp>
      <p:sp>
        <p:nvSpPr>
          <p:cNvPr id="54" name="Google Shape;54;p8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cxnSp>
        <p:nvCxnSpPr>
          <p:cNvPr id="55" name="Google Shape;55;p8"/>
          <p:cNvCxnSpPr/>
          <p:nvPr/>
        </p:nvCxnSpPr>
        <p:spPr>
          <a:xfrm>
            <a:off x="4233900" y="1223600"/>
            <a:ext cx="676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design 1">
  <p:cSld name="TITLE_AND_BODY_2">
    <p:bg>
      <p:bgPr>
        <a:solidFill>
          <a:schemeClr val="lt1"/>
        </a:soli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9"/>
          <p:cNvSpPr/>
          <p:nvPr/>
        </p:nvSpPr>
        <p:spPr>
          <a:xfrm>
            <a:off x="406950" y="352200"/>
            <a:ext cx="8330100" cy="43110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8" name="Google Shape;58;p9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bg1">
                    <a:lumMod val="50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9pPr>
          </a:lstStyle>
          <a:p>
            <a:endParaRPr/>
          </a:p>
        </p:txBody>
      </p:sp>
      <p:sp>
        <p:nvSpPr>
          <p:cNvPr id="59" name="Google Shape;59;p9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cxnSp>
        <p:nvCxnSpPr>
          <p:cNvPr id="60" name="Google Shape;60;p9"/>
          <p:cNvCxnSpPr/>
          <p:nvPr/>
        </p:nvCxnSpPr>
        <p:spPr>
          <a:xfrm>
            <a:off x="4233900" y="1223600"/>
            <a:ext cx="676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title">
  <p:cSld name="TITLE_AND_BODY_1">
    <p:bg>
      <p:bgPr>
        <a:solidFill>
          <a:schemeClr val="lt1"/>
        </a:solidFill>
        <a:effectLst/>
      </p:bgPr>
    </p:bg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10"/>
          <p:cNvSpPr txBox="1">
            <a:spLocks noGrp="1"/>
          </p:cNvSpPr>
          <p:nvPr>
            <p:ph type="title"/>
          </p:nvPr>
        </p:nvSpPr>
        <p:spPr>
          <a:xfrm>
            <a:off x="4598900" y="953209"/>
            <a:ext cx="3888000" cy="1206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b="1">
                <a:solidFill>
                  <a:schemeClr val="bg1">
                    <a:lumMod val="50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9pPr>
          </a:lstStyle>
          <a:p>
            <a:endParaRPr dirty="0"/>
          </a:p>
        </p:txBody>
      </p:sp>
      <p:sp>
        <p:nvSpPr>
          <p:cNvPr id="63" name="Google Shape;63;p10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64" name="Google Shape;64;p10"/>
          <p:cNvSpPr/>
          <p:nvPr/>
        </p:nvSpPr>
        <p:spPr>
          <a:xfrm>
            <a:off x="0" y="0"/>
            <a:ext cx="4259700" cy="5143500"/>
          </a:xfrm>
          <a:prstGeom prst="snip2DiagRect">
            <a:avLst>
              <a:gd name="adj1" fmla="val 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65;p10"/>
          <p:cNvSpPr txBox="1">
            <a:spLocks noGrp="1"/>
          </p:cNvSpPr>
          <p:nvPr>
            <p:ph type="subTitle" idx="1"/>
          </p:nvPr>
        </p:nvSpPr>
        <p:spPr>
          <a:xfrm>
            <a:off x="4598900" y="2968204"/>
            <a:ext cx="29208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cxnSp>
        <p:nvCxnSpPr>
          <p:cNvPr id="66" name="Google Shape;66;p10"/>
          <p:cNvCxnSpPr/>
          <p:nvPr/>
        </p:nvCxnSpPr>
        <p:spPr>
          <a:xfrm>
            <a:off x="4778200" y="2780625"/>
            <a:ext cx="676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2 columns slide" type="twoColTx">
  <p:cSld name="TITLE_AND_TWO_COLUMNS">
    <p:bg>
      <p:bgPr>
        <a:solidFill>
          <a:schemeClr val="lt1"/>
        </a:solidFill>
        <a:effectLst/>
      </p:bgPr>
    </p:bg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11"/>
          <p:cNvSpPr/>
          <p:nvPr/>
        </p:nvSpPr>
        <p:spPr>
          <a:xfrm>
            <a:off x="406950" y="352200"/>
            <a:ext cx="8330100" cy="43110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9" name="Google Shape;69;p11"/>
          <p:cNvCxnSpPr/>
          <p:nvPr/>
        </p:nvCxnSpPr>
        <p:spPr>
          <a:xfrm>
            <a:off x="4550550" y="1941425"/>
            <a:ext cx="0" cy="1927500"/>
          </a:xfrm>
          <a:prstGeom prst="straightConnector1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0" name="Google Shape;70;p1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71" name="Google Shape;71;p11"/>
          <p:cNvSpPr txBox="1">
            <a:spLocks noGrp="1"/>
          </p:cNvSpPr>
          <p:nvPr>
            <p:ph type="ctrTitle"/>
          </p:nvPr>
        </p:nvSpPr>
        <p:spPr>
          <a:xfrm>
            <a:off x="1113228" y="1571550"/>
            <a:ext cx="31695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 i="0"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72" name="Google Shape;72;p11"/>
          <p:cNvSpPr txBox="1">
            <a:spLocks noGrp="1"/>
          </p:cNvSpPr>
          <p:nvPr>
            <p:ph type="subTitle" idx="1"/>
          </p:nvPr>
        </p:nvSpPr>
        <p:spPr>
          <a:xfrm>
            <a:off x="1113229" y="2177000"/>
            <a:ext cx="31014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73" name="Google Shape;73;p11"/>
          <p:cNvSpPr txBox="1">
            <a:spLocks noGrp="1"/>
          </p:cNvSpPr>
          <p:nvPr>
            <p:ph type="ctrTitle" idx="2"/>
          </p:nvPr>
        </p:nvSpPr>
        <p:spPr>
          <a:xfrm>
            <a:off x="4818378" y="1571550"/>
            <a:ext cx="31695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 i="0"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9pPr>
          </a:lstStyle>
          <a:p>
            <a:endParaRPr dirty="0"/>
          </a:p>
        </p:txBody>
      </p:sp>
      <p:sp>
        <p:nvSpPr>
          <p:cNvPr id="74" name="Google Shape;74;p11"/>
          <p:cNvSpPr txBox="1">
            <a:spLocks noGrp="1"/>
          </p:cNvSpPr>
          <p:nvPr>
            <p:ph type="subTitle" idx="3"/>
          </p:nvPr>
        </p:nvSpPr>
        <p:spPr>
          <a:xfrm>
            <a:off x="4818379" y="2177000"/>
            <a:ext cx="31014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75" name="Google Shape;75;p11"/>
          <p:cNvSpPr txBox="1">
            <a:spLocks noGrp="1"/>
          </p:cNvSpPr>
          <p:nvPr>
            <p:ph type="title" idx="4"/>
          </p:nvPr>
        </p:nvSpPr>
        <p:spPr>
          <a:xfrm>
            <a:off x="-11850" y="927075"/>
            <a:ext cx="91440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bg1">
                    <a:lumMod val="50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3 columns slide">
  <p:cSld name="TITLE_AND_TWO_COLUMNS_1">
    <p:bg>
      <p:bgPr>
        <a:solidFill>
          <a:schemeClr val="lt1"/>
        </a:solidFill>
        <a:effectLst/>
      </p:bgPr>
    </p:bg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13"/>
          <p:cNvSpPr/>
          <p:nvPr/>
        </p:nvSpPr>
        <p:spPr>
          <a:xfrm>
            <a:off x="406950" y="352200"/>
            <a:ext cx="8330100" cy="43110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" name="Google Shape;87;p13"/>
          <p:cNvSpPr txBox="1">
            <a:spLocks noGrp="1"/>
          </p:cNvSpPr>
          <p:nvPr>
            <p:ph type="title"/>
          </p:nvPr>
        </p:nvSpPr>
        <p:spPr>
          <a:xfrm>
            <a:off x="-11850" y="927075"/>
            <a:ext cx="91440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bg1">
                    <a:lumMod val="50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9pPr>
          </a:lstStyle>
          <a:p>
            <a:endParaRPr dirty="0"/>
          </a:p>
        </p:txBody>
      </p:sp>
      <p:sp>
        <p:nvSpPr>
          <p:cNvPr id="88" name="Google Shape;88;p1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89" name="Google Shape;89;p13"/>
          <p:cNvSpPr txBox="1">
            <a:spLocks noGrp="1"/>
          </p:cNvSpPr>
          <p:nvPr>
            <p:ph type="ctrTitle" idx="2"/>
          </p:nvPr>
        </p:nvSpPr>
        <p:spPr>
          <a:xfrm>
            <a:off x="1105351" y="2062425"/>
            <a:ext cx="21135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>
                <a:solidFill>
                  <a:schemeClr val="dk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90" name="Google Shape;90;p13"/>
          <p:cNvSpPr txBox="1">
            <a:spLocks noGrp="1"/>
          </p:cNvSpPr>
          <p:nvPr>
            <p:ph type="subTitle" idx="1"/>
          </p:nvPr>
        </p:nvSpPr>
        <p:spPr>
          <a:xfrm>
            <a:off x="1105354" y="2667875"/>
            <a:ext cx="2113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91" name="Google Shape;91;p13"/>
          <p:cNvSpPr txBox="1">
            <a:spLocks noGrp="1"/>
          </p:cNvSpPr>
          <p:nvPr>
            <p:ph type="ctrTitle" idx="3"/>
          </p:nvPr>
        </p:nvSpPr>
        <p:spPr>
          <a:xfrm>
            <a:off x="3515251" y="2062425"/>
            <a:ext cx="21135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>
                <a:solidFill>
                  <a:schemeClr val="dk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92" name="Google Shape;92;p13"/>
          <p:cNvSpPr txBox="1">
            <a:spLocks noGrp="1"/>
          </p:cNvSpPr>
          <p:nvPr>
            <p:ph type="subTitle" idx="4"/>
          </p:nvPr>
        </p:nvSpPr>
        <p:spPr>
          <a:xfrm>
            <a:off x="3515254" y="2667875"/>
            <a:ext cx="2113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93" name="Google Shape;93;p13"/>
          <p:cNvSpPr txBox="1">
            <a:spLocks noGrp="1"/>
          </p:cNvSpPr>
          <p:nvPr>
            <p:ph type="ctrTitle" idx="5"/>
          </p:nvPr>
        </p:nvSpPr>
        <p:spPr>
          <a:xfrm>
            <a:off x="5925151" y="2062425"/>
            <a:ext cx="21135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>
                <a:solidFill>
                  <a:schemeClr val="dk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94" name="Google Shape;94;p13"/>
          <p:cNvSpPr txBox="1">
            <a:spLocks noGrp="1"/>
          </p:cNvSpPr>
          <p:nvPr>
            <p:ph type="subTitle" idx="6"/>
          </p:nvPr>
        </p:nvSpPr>
        <p:spPr>
          <a:xfrm>
            <a:off x="5925154" y="2667875"/>
            <a:ext cx="2113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cxnSp>
        <p:nvCxnSpPr>
          <p:cNvPr id="95" name="Google Shape;95;p13"/>
          <p:cNvCxnSpPr/>
          <p:nvPr/>
        </p:nvCxnSpPr>
        <p:spPr>
          <a:xfrm>
            <a:off x="3406450" y="1926825"/>
            <a:ext cx="0" cy="1941300"/>
          </a:xfrm>
          <a:prstGeom prst="straightConnector1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6" name="Google Shape;96;p13"/>
          <p:cNvCxnSpPr/>
          <p:nvPr/>
        </p:nvCxnSpPr>
        <p:spPr>
          <a:xfrm>
            <a:off x="5737375" y="1926825"/>
            <a:ext cx="0" cy="1941300"/>
          </a:xfrm>
          <a:prstGeom prst="straightConnector1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Ubuntu"/>
              <a:buNone/>
              <a:defRPr sz="2400" b="1">
                <a:solidFill>
                  <a:schemeClr val="dk1"/>
                </a:solidFill>
                <a:latin typeface="Ubuntu"/>
                <a:ea typeface="Ubuntu"/>
                <a:cs typeface="Ubuntu"/>
                <a:sym typeface="Ubuntu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1068100" y="1695450"/>
            <a:ext cx="7047300" cy="250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Char char="●"/>
              <a:defRPr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lvl="1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Char char="○"/>
              <a:defRPr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lvl="2" indent="-3111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Char char="■"/>
              <a:defRPr sz="13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lvl="3" indent="-3111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Char char="●"/>
              <a:defRPr sz="13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lvl="4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Char char="○"/>
              <a:defRPr sz="12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lvl="5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Char char="■"/>
              <a:defRPr sz="12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lvl="6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Char char="●"/>
              <a:defRPr sz="11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lvl="7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Char char="○"/>
              <a:defRPr sz="11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lvl="8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Char char="■"/>
              <a:defRPr sz="10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endParaRPr dirty="0"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#›</a:t>
            </a:fld>
            <a:endParaRPr/>
          </a:p>
        </p:txBody>
      </p:sp>
      <p:sp>
        <p:nvSpPr>
          <p:cNvPr id="5" name="TextBox 4"/>
          <p:cNvSpPr txBox="1"/>
          <p:nvPr userDrawn="1"/>
        </p:nvSpPr>
        <p:spPr>
          <a:xfrm>
            <a:off x="0" y="4706128"/>
            <a:ext cx="23275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2">
                    <a:lumMod val="75000"/>
                  </a:schemeClr>
                </a:solidFill>
                <a:latin typeface="Ubuntu" panose="020B0604020202020204" charset="0"/>
              </a:rPr>
              <a:t>The</a:t>
            </a:r>
            <a:r>
              <a:rPr lang="en-US" baseline="0" dirty="0" smtClean="0">
                <a:solidFill>
                  <a:schemeClr val="tx2">
                    <a:lumMod val="75000"/>
                  </a:schemeClr>
                </a:solidFill>
                <a:latin typeface="Ubuntu" panose="020B0604020202020204" charset="0"/>
              </a:rPr>
              <a:t> Course name</a:t>
            </a:r>
            <a:endParaRPr lang="en-US" dirty="0">
              <a:solidFill>
                <a:schemeClr val="tx2">
                  <a:lumMod val="75000"/>
                </a:schemeClr>
              </a:solidFill>
              <a:latin typeface="Ubuntu" panose="020B0604020202020204" charset="0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9" r:id="rId9"/>
    <p:sldLayoutId id="2147483662" r:id="rId10"/>
    <p:sldLayoutId id="2147483664" r:id="rId11"/>
    <p:sldLayoutId id="2147483665" r:id="rId12"/>
    <p:sldLayoutId id="2147483667" r:id="rId13"/>
    <p:sldLayoutId id="2147483671" r:id="rId14"/>
  </p:sldLayoutIdLst>
  <p:timing>
    <p:tnLst>
      <p:par>
        <p:cTn id="1" dur="indefinite" restart="never" nodeType="tmRoot"/>
      </p:par>
    </p:tnLst>
  </p:timing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chemeClr val="bg1">
              <a:lumMod val="65000"/>
            </a:schemeClr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30"/>
          <p:cNvSpPr txBox="1">
            <a:spLocks noGrp="1"/>
          </p:cNvSpPr>
          <p:nvPr>
            <p:ph type="ctrTitle"/>
          </p:nvPr>
        </p:nvSpPr>
        <p:spPr>
          <a:xfrm>
            <a:off x="706244" y="1831710"/>
            <a:ext cx="4832195" cy="875700"/>
          </a:xfrm>
          <a:prstGeom prst="rect">
            <a:avLst/>
          </a:prstGeom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s" dirty="0"/>
              <a:t>presentation begins</a:t>
            </a:r>
            <a:endParaRPr i="1" dirty="0"/>
          </a:p>
        </p:txBody>
      </p:sp>
      <p:sp>
        <p:nvSpPr>
          <p:cNvPr id="190" name="Google Shape;190;p30"/>
          <p:cNvSpPr txBox="1"/>
          <p:nvPr/>
        </p:nvSpPr>
        <p:spPr>
          <a:xfrm>
            <a:off x="1534039" y="1173210"/>
            <a:ext cx="4004400" cy="65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sz="1800" dirty="0">
                <a:solidFill>
                  <a:schemeClr val="bg1">
                    <a:lumMod val="85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rPr>
              <a:t>HERE IS WHERE YOUR</a:t>
            </a:r>
            <a:endParaRPr sz="1800" dirty="0">
              <a:solidFill>
                <a:schemeClr val="bg1">
                  <a:lumMod val="85000"/>
                </a:schemeClr>
              </a:solidFill>
              <a:latin typeface="Ubuntu Light"/>
              <a:ea typeface="Ubuntu Light"/>
              <a:cs typeface="Ubuntu Light"/>
              <a:sym typeface="Ubuntu Light"/>
            </a:endParaRPr>
          </a:p>
        </p:txBody>
      </p:sp>
      <p:grpSp>
        <p:nvGrpSpPr>
          <p:cNvPr id="8" name="Idea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5D906A2-B697-428B-98FA-1975E21289F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542211" y="852561"/>
            <a:ext cx="1361903" cy="1505518"/>
            <a:chOff x="2087986" y="1812758"/>
            <a:chExt cx="316995" cy="350423"/>
          </a:xfrm>
        </p:grpSpPr>
        <p:sp>
          <p:nvSpPr>
            <p:cNvPr id="9" name="Crowdsourcing2">
              <a:extLst>
                <a:ext uri="{FF2B5EF4-FFF2-40B4-BE49-F238E27FC236}">
                  <a16:creationId xmlns:a16="http://schemas.microsoft.com/office/drawing/2014/main" id="{F4707F51-2C3B-4011-8C08-73FC062CCFE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12479" y="2095171"/>
              <a:ext cx="68010" cy="23054"/>
            </a:xfrm>
            <a:custGeom>
              <a:avLst/>
              <a:gdLst>
                <a:gd name="T0" fmla="*/ 130 w 156"/>
                <a:gd name="T1" fmla="*/ 52 h 52"/>
                <a:gd name="T2" fmla="*/ 26 w 156"/>
                <a:gd name="T3" fmla="*/ 52 h 52"/>
                <a:gd name="T4" fmla="*/ 0 w 156"/>
                <a:gd name="T5" fmla="*/ 26 h 52"/>
                <a:gd name="T6" fmla="*/ 26 w 156"/>
                <a:gd name="T7" fmla="*/ 0 h 52"/>
                <a:gd name="T8" fmla="*/ 130 w 156"/>
                <a:gd name="T9" fmla="*/ 0 h 52"/>
                <a:gd name="T10" fmla="*/ 156 w 156"/>
                <a:gd name="T11" fmla="*/ 26 h 52"/>
                <a:gd name="T12" fmla="*/ 130 w 15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52">
                  <a:moveTo>
                    <a:pt x="130" y="52"/>
                  </a:moveTo>
                  <a:lnTo>
                    <a:pt x="26" y="52"/>
                  </a:lnTo>
                  <a:cubicBezTo>
                    <a:pt x="11" y="52"/>
                    <a:pt x="0" y="40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lnTo>
                    <a:pt x="130" y="0"/>
                  </a:lnTo>
                  <a:cubicBezTo>
                    <a:pt x="144" y="0"/>
                    <a:pt x="156" y="12"/>
                    <a:pt x="156" y="26"/>
                  </a:cubicBezTo>
                  <a:cubicBezTo>
                    <a:pt x="156" y="40"/>
                    <a:pt x="144" y="52"/>
                    <a:pt x="130" y="5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Crowdsourcing2">
              <a:extLst>
                <a:ext uri="{FF2B5EF4-FFF2-40B4-BE49-F238E27FC236}">
                  <a16:creationId xmlns:a16="http://schemas.microsoft.com/office/drawing/2014/main" id="{7FA0E5F8-5BD3-4225-9C38-FE65A66D60CE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235533" y="1812758"/>
              <a:ext cx="21901" cy="68010"/>
            </a:xfrm>
            <a:custGeom>
              <a:avLst/>
              <a:gdLst>
                <a:gd name="T0" fmla="*/ 26 w 52"/>
                <a:gd name="T1" fmla="*/ 156 h 156"/>
                <a:gd name="T2" fmla="*/ 0 w 52"/>
                <a:gd name="T3" fmla="*/ 130 h 156"/>
                <a:gd name="T4" fmla="*/ 0 w 52"/>
                <a:gd name="T5" fmla="*/ 26 h 156"/>
                <a:gd name="T6" fmla="*/ 26 w 52"/>
                <a:gd name="T7" fmla="*/ 0 h 156"/>
                <a:gd name="T8" fmla="*/ 52 w 52"/>
                <a:gd name="T9" fmla="*/ 26 h 156"/>
                <a:gd name="T10" fmla="*/ 52 w 52"/>
                <a:gd name="T11" fmla="*/ 130 h 156"/>
                <a:gd name="T12" fmla="*/ 26 w 5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56">
                  <a:moveTo>
                    <a:pt x="26" y="156"/>
                  </a:moveTo>
                  <a:cubicBezTo>
                    <a:pt x="12" y="156"/>
                    <a:pt x="0" y="145"/>
                    <a:pt x="0" y="130"/>
                  </a:cubicBezTo>
                  <a:lnTo>
                    <a:pt x="0" y="26"/>
                  </a:ln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lnTo>
                    <a:pt x="52" y="130"/>
                  </a:lnTo>
                  <a:cubicBezTo>
                    <a:pt x="52" y="145"/>
                    <a:pt x="40" y="156"/>
                    <a:pt x="26" y="15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Crowdsourcing2">
              <a:extLst>
                <a:ext uri="{FF2B5EF4-FFF2-40B4-BE49-F238E27FC236}">
                  <a16:creationId xmlns:a16="http://schemas.microsoft.com/office/drawing/2014/main" id="{A05D80F7-F676-46C5-8F0A-BC6D0BBD5C78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087986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Crowdsourcing2">
              <a:extLst>
                <a:ext uri="{FF2B5EF4-FFF2-40B4-BE49-F238E27FC236}">
                  <a16:creationId xmlns:a16="http://schemas.microsoft.com/office/drawing/2014/main" id="{EE616464-7937-4579-ACD6-6B815A0E907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128331" y="1853103"/>
              <a:ext cx="56483" cy="55330"/>
            </a:xfrm>
            <a:custGeom>
              <a:avLst/>
              <a:gdLst>
                <a:gd name="T0" fmla="*/ 103 w 131"/>
                <a:gd name="T1" fmla="*/ 128 h 128"/>
                <a:gd name="T2" fmla="*/ 84 w 131"/>
                <a:gd name="T3" fmla="*/ 121 h 128"/>
                <a:gd name="T4" fmla="*/ 11 w 131"/>
                <a:gd name="T5" fmla="*/ 47 h 128"/>
                <a:gd name="T6" fmla="*/ 11 w 131"/>
                <a:gd name="T7" fmla="*/ 10 h 128"/>
                <a:gd name="T8" fmla="*/ 47 w 131"/>
                <a:gd name="T9" fmla="*/ 10 h 128"/>
                <a:gd name="T10" fmla="*/ 121 w 131"/>
                <a:gd name="T11" fmla="*/ 84 h 128"/>
                <a:gd name="T12" fmla="*/ 121 w 131"/>
                <a:gd name="T13" fmla="*/ 121 h 128"/>
                <a:gd name="T14" fmla="*/ 103 w 131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" h="128">
                  <a:moveTo>
                    <a:pt x="103" y="128"/>
                  </a:moveTo>
                  <a:cubicBezTo>
                    <a:pt x="96" y="128"/>
                    <a:pt x="89" y="126"/>
                    <a:pt x="84" y="121"/>
                  </a:cubicBezTo>
                  <a:lnTo>
                    <a:pt x="11" y="47"/>
                  </a:lnTo>
                  <a:cubicBezTo>
                    <a:pt x="0" y="37"/>
                    <a:pt x="0" y="20"/>
                    <a:pt x="11" y="10"/>
                  </a:cubicBezTo>
                  <a:cubicBezTo>
                    <a:pt x="21" y="0"/>
                    <a:pt x="37" y="0"/>
                    <a:pt x="47" y="10"/>
                  </a:cubicBezTo>
                  <a:lnTo>
                    <a:pt x="121" y="84"/>
                  </a:lnTo>
                  <a:cubicBezTo>
                    <a:pt x="131" y="94"/>
                    <a:pt x="131" y="111"/>
                    <a:pt x="121" y="121"/>
                  </a:cubicBezTo>
                  <a:cubicBezTo>
                    <a:pt x="116" y="126"/>
                    <a:pt x="109" y="128"/>
                    <a:pt x="103" y="128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Crowdsourcing2">
              <a:extLst>
                <a:ext uri="{FF2B5EF4-FFF2-40B4-BE49-F238E27FC236}">
                  <a16:creationId xmlns:a16="http://schemas.microsoft.com/office/drawing/2014/main" id="{0A149C4B-7715-461F-BFFB-E11FC1F26858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307001" y="1853103"/>
              <a:ext cx="56483" cy="55330"/>
            </a:xfrm>
            <a:custGeom>
              <a:avLst/>
              <a:gdLst>
                <a:gd name="T0" fmla="*/ 28 w 130"/>
                <a:gd name="T1" fmla="*/ 128 h 128"/>
                <a:gd name="T2" fmla="*/ 10 w 130"/>
                <a:gd name="T3" fmla="*/ 121 h 128"/>
                <a:gd name="T4" fmla="*/ 10 w 130"/>
                <a:gd name="T5" fmla="*/ 84 h 128"/>
                <a:gd name="T6" fmla="*/ 83 w 130"/>
                <a:gd name="T7" fmla="*/ 10 h 128"/>
                <a:gd name="T8" fmla="*/ 120 w 130"/>
                <a:gd name="T9" fmla="*/ 10 h 128"/>
                <a:gd name="T10" fmla="*/ 120 w 130"/>
                <a:gd name="T11" fmla="*/ 47 h 128"/>
                <a:gd name="T12" fmla="*/ 47 w 130"/>
                <a:gd name="T13" fmla="*/ 121 h 128"/>
                <a:gd name="T14" fmla="*/ 28 w 130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128">
                  <a:moveTo>
                    <a:pt x="28" y="128"/>
                  </a:moveTo>
                  <a:cubicBezTo>
                    <a:pt x="22" y="128"/>
                    <a:pt x="15" y="126"/>
                    <a:pt x="10" y="121"/>
                  </a:cubicBezTo>
                  <a:cubicBezTo>
                    <a:pt x="0" y="111"/>
                    <a:pt x="0" y="94"/>
                    <a:pt x="10" y="84"/>
                  </a:cubicBezTo>
                  <a:lnTo>
                    <a:pt x="83" y="10"/>
                  </a:lnTo>
                  <a:cubicBezTo>
                    <a:pt x="94" y="0"/>
                    <a:pt x="110" y="0"/>
                    <a:pt x="120" y="10"/>
                  </a:cubicBezTo>
                  <a:cubicBezTo>
                    <a:pt x="130" y="20"/>
                    <a:pt x="130" y="37"/>
                    <a:pt x="120" y="47"/>
                  </a:cubicBezTo>
                  <a:lnTo>
                    <a:pt x="47" y="121"/>
                  </a:lnTo>
                  <a:cubicBezTo>
                    <a:pt x="42" y="126"/>
                    <a:pt x="35" y="128"/>
                    <a:pt x="28" y="128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Crowdsourcing2">
              <a:extLst>
                <a:ext uri="{FF2B5EF4-FFF2-40B4-BE49-F238E27FC236}">
                  <a16:creationId xmlns:a16="http://schemas.microsoft.com/office/drawing/2014/main" id="{D42ADCE5-E695-41D1-8C4E-3C7D6519A307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336971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Crowdsourcing2">
              <a:extLst>
                <a:ext uri="{FF2B5EF4-FFF2-40B4-BE49-F238E27FC236}">
                  <a16:creationId xmlns:a16="http://schemas.microsoft.com/office/drawing/2014/main" id="{46443707-FF11-409B-8771-86CED87CF6A9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212479" y="2128600"/>
              <a:ext cx="68010" cy="34581"/>
            </a:xfrm>
            <a:custGeom>
              <a:avLst/>
              <a:gdLst>
                <a:gd name="T0" fmla="*/ 130 w 156"/>
                <a:gd name="T1" fmla="*/ 0 h 78"/>
                <a:gd name="T2" fmla="*/ 26 w 156"/>
                <a:gd name="T3" fmla="*/ 0 h 78"/>
                <a:gd name="T4" fmla="*/ 0 w 156"/>
                <a:gd name="T5" fmla="*/ 26 h 78"/>
                <a:gd name="T6" fmla="*/ 26 w 156"/>
                <a:gd name="T7" fmla="*/ 52 h 78"/>
                <a:gd name="T8" fmla="*/ 39 w 156"/>
                <a:gd name="T9" fmla="*/ 52 h 78"/>
                <a:gd name="T10" fmla="*/ 65 w 156"/>
                <a:gd name="T11" fmla="*/ 78 h 78"/>
                <a:gd name="T12" fmla="*/ 91 w 156"/>
                <a:gd name="T13" fmla="*/ 78 h 78"/>
                <a:gd name="T14" fmla="*/ 117 w 156"/>
                <a:gd name="T15" fmla="*/ 52 h 78"/>
                <a:gd name="T16" fmla="*/ 130 w 156"/>
                <a:gd name="T17" fmla="*/ 52 h 78"/>
                <a:gd name="T18" fmla="*/ 156 w 156"/>
                <a:gd name="T19" fmla="*/ 26 h 78"/>
                <a:gd name="T20" fmla="*/ 130 w 156"/>
                <a:gd name="T2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78">
                  <a:moveTo>
                    <a:pt x="130" y="0"/>
                  </a:moveTo>
                  <a:lnTo>
                    <a:pt x="26" y="0"/>
                  </a:lnTo>
                  <a:cubicBezTo>
                    <a:pt x="11" y="0"/>
                    <a:pt x="0" y="12"/>
                    <a:pt x="0" y="26"/>
                  </a:cubicBezTo>
                  <a:cubicBezTo>
                    <a:pt x="0" y="41"/>
                    <a:pt x="11" y="52"/>
                    <a:pt x="26" y="52"/>
                  </a:cubicBezTo>
                  <a:lnTo>
                    <a:pt x="39" y="52"/>
                  </a:lnTo>
                  <a:cubicBezTo>
                    <a:pt x="39" y="67"/>
                    <a:pt x="51" y="78"/>
                    <a:pt x="65" y="78"/>
                  </a:cubicBezTo>
                  <a:lnTo>
                    <a:pt x="91" y="78"/>
                  </a:lnTo>
                  <a:cubicBezTo>
                    <a:pt x="105" y="78"/>
                    <a:pt x="117" y="67"/>
                    <a:pt x="117" y="52"/>
                  </a:cubicBezTo>
                  <a:lnTo>
                    <a:pt x="130" y="52"/>
                  </a:lnTo>
                  <a:cubicBezTo>
                    <a:pt x="144" y="52"/>
                    <a:pt x="156" y="41"/>
                    <a:pt x="156" y="26"/>
                  </a:cubicBezTo>
                  <a:cubicBezTo>
                    <a:pt x="156" y="12"/>
                    <a:pt x="144" y="0"/>
                    <a:pt x="130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Crowdsourcing2">
              <a:extLst>
                <a:ext uri="{FF2B5EF4-FFF2-40B4-BE49-F238E27FC236}">
                  <a16:creationId xmlns:a16="http://schemas.microsoft.com/office/drawing/2014/main" id="{767F8776-662B-41E0-AAAC-E29888FC1BE8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167523" y="1892295"/>
              <a:ext cx="157921" cy="191349"/>
            </a:xfrm>
            <a:custGeom>
              <a:avLst/>
              <a:gdLst>
                <a:gd name="T0" fmla="*/ 316 w 364"/>
                <a:gd name="T1" fmla="*/ 306 h 443"/>
                <a:gd name="T2" fmla="*/ 364 w 364"/>
                <a:gd name="T3" fmla="*/ 183 h 443"/>
                <a:gd name="T4" fmla="*/ 182 w 364"/>
                <a:gd name="T5" fmla="*/ 0 h 443"/>
                <a:gd name="T6" fmla="*/ 0 w 364"/>
                <a:gd name="T7" fmla="*/ 183 h 443"/>
                <a:gd name="T8" fmla="*/ 45 w 364"/>
                <a:gd name="T9" fmla="*/ 302 h 443"/>
                <a:gd name="T10" fmla="*/ 104 w 364"/>
                <a:gd name="T11" fmla="*/ 417 h 443"/>
                <a:gd name="T12" fmla="*/ 130 w 364"/>
                <a:gd name="T13" fmla="*/ 443 h 443"/>
                <a:gd name="T14" fmla="*/ 234 w 364"/>
                <a:gd name="T15" fmla="*/ 443 h 443"/>
                <a:gd name="T16" fmla="*/ 260 w 364"/>
                <a:gd name="T17" fmla="*/ 417 h 443"/>
                <a:gd name="T18" fmla="*/ 260 w 364"/>
                <a:gd name="T19" fmla="*/ 416 h 443"/>
                <a:gd name="T20" fmla="*/ 316 w 364"/>
                <a:gd name="T21" fmla="*/ 30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443">
                  <a:moveTo>
                    <a:pt x="316" y="306"/>
                  </a:moveTo>
                  <a:cubicBezTo>
                    <a:pt x="346" y="273"/>
                    <a:pt x="364" y="230"/>
                    <a:pt x="364" y="183"/>
                  </a:cubicBezTo>
                  <a:cubicBezTo>
                    <a:pt x="364" y="82"/>
                    <a:pt x="283" y="0"/>
                    <a:pt x="182" y="0"/>
                  </a:cubicBezTo>
                  <a:cubicBezTo>
                    <a:pt x="81" y="0"/>
                    <a:pt x="0" y="82"/>
                    <a:pt x="0" y="183"/>
                  </a:cubicBezTo>
                  <a:cubicBezTo>
                    <a:pt x="0" y="229"/>
                    <a:pt x="17" y="270"/>
                    <a:pt x="45" y="302"/>
                  </a:cubicBezTo>
                  <a:cubicBezTo>
                    <a:pt x="57" y="316"/>
                    <a:pt x="104" y="372"/>
                    <a:pt x="104" y="417"/>
                  </a:cubicBezTo>
                  <a:cubicBezTo>
                    <a:pt x="104" y="431"/>
                    <a:pt x="115" y="443"/>
                    <a:pt x="130" y="443"/>
                  </a:cubicBezTo>
                  <a:lnTo>
                    <a:pt x="234" y="443"/>
                  </a:lnTo>
                  <a:cubicBezTo>
                    <a:pt x="248" y="443"/>
                    <a:pt x="260" y="431"/>
                    <a:pt x="260" y="417"/>
                  </a:cubicBezTo>
                  <a:lnTo>
                    <a:pt x="260" y="416"/>
                  </a:lnTo>
                  <a:cubicBezTo>
                    <a:pt x="261" y="373"/>
                    <a:pt x="301" y="323"/>
                    <a:pt x="316" y="30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5538439" y="2542477"/>
            <a:ext cx="338997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434343"/>
                </a:solidFill>
                <a:latin typeface="Ubuntu"/>
                <a:sym typeface="Ubuntu"/>
              </a:rPr>
              <a:t>E</a:t>
            </a:r>
            <a:r>
              <a:rPr lang="es" sz="2400" b="1" dirty="0" smtClean="0">
                <a:solidFill>
                  <a:srgbClr val="434343"/>
                </a:solidFill>
                <a:latin typeface="Ubuntu"/>
                <a:sym typeface="Ubuntu"/>
              </a:rPr>
              <a:t>mail address and other info for ideas and suggestions</a:t>
            </a:r>
            <a:endParaRPr lang="en-US" sz="105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" smtClean="0"/>
              <a:pPr/>
              <a:t>1</a:t>
            </a:fld>
            <a:endParaRPr lang="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9" name="Google Shape;669;p48"/>
          <p:cNvGrpSpPr/>
          <p:nvPr/>
        </p:nvGrpSpPr>
        <p:grpSpPr>
          <a:xfrm>
            <a:off x="1907514" y="1611245"/>
            <a:ext cx="5328973" cy="2793092"/>
            <a:chOff x="1907514" y="1611245"/>
            <a:chExt cx="5328973" cy="2793092"/>
          </a:xfrm>
        </p:grpSpPr>
        <p:sp>
          <p:nvSpPr>
            <p:cNvPr id="670" name="Google Shape;670;p48"/>
            <p:cNvSpPr/>
            <p:nvPr/>
          </p:nvSpPr>
          <p:spPr>
            <a:xfrm>
              <a:off x="1907514" y="1611245"/>
              <a:ext cx="1103817" cy="1191534"/>
            </a:xfrm>
            <a:custGeom>
              <a:avLst/>
              <a:gdLst/>
              <a:ahLst/>
              <a:cxnLst/>
              <a:rect l="l" t="t" r="r" b="b"/>
              <a:pathLst>
                <a:path w="4732" h="5225" extrusionOk="0">
                  <a:moveTo>
                    <a:pt x="346" y="0"/>
                  </a:moveTo>
                  <a:cubicBezTo>
                    <a:pt x="148" y="0"/>
                    <a:pt x="1" y="148"/>
                    <a:pt x="1" y="333"/>
                  </a:cubicBezTo>
                  <a:lnTo>
                    <a:pt x="1" y="4423"/>
                  </a:lnTo>
                  <a:cubicBezTo>
                    <a:pt x="1" y="4608"/>
                    <a:pt x="148" y="4756"/>
                    <a:pt x="346" y="4756"/>
                  </a:cubicBezTo>
                  <a:lnTo>
                    <a:pt x="2046" y="4756"/>
                  </a:lnTo>
                  <a:lnTo>
                    <a:pt x="2366" y="5224"/>
                  </a:lnTo>
                  <a:lnTo>
                    <a:pt x="2687" y="4756"/>
                  </a:lnTo>
                  <a:lnTo>
                    <a:pt x="4387" y="4756"/>
                  </a:lnTo>
                  <a:cubicBezTo>
                    <a:pt x="4572" y="4756"/>
                    <a:pt x="4732" y="4608"/>
                    <a:pt x="4732" y="4423"/>
                  </a:cubicBezTo>
                  <a:lnTo>
                    <a:pt x="4732" y="333"/>
                  </a:lnTo>
                  <a:cubicBezTo>
                    <a:pt x="4732" y="148"/>
                    <a:pt x="4584" y="0"/>
                    <a:pt x="438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48"/>
            <p:cNvSpPr/>
            <p:nvPr/>
          </p:nvSpPr>
          <p:spPr>
            <a:xfrm>
              <a:off x="3974021" y="1611245"/>
              <a:ext cx="1101018" cy="1191534"/>
            </a:xfrm>
            <a:custGeom>
              <a:avLst/>
              <a:gdLst/>
              <a:ahLst/>
              <a:cxnLst/>
              <a:rect l="l" t="t" r="r" b="b"/>
              <a:pathLst>
                <a:path w="4720" h="5225" extrusionOk="0">
                  <a:moveTo>
                    <a:pt x="333" y="0"/>
                  </a:moveTo>
                  <a:cubicBezTo>
                    <a:pt x="148" y="0"/>
                    <a:pt x="1" y="148"/>
                    <a:pt x="1" y="333"/>
                  </a:cubicBezTo>
                  <a:lnTo>
                    <a:pt x="1" y="4423"/>
                  </a:lnTo>
                  <a:cubicBezTo>
                    <a:pt x="1" y="4608"/>
                    <a:pt x="148" y="4756"/>
                    <a:pt x="333" y="4756"/>
                  </a:cubicBezTo>
                  <a:lnTo>
                    <a:pt x="2046" y="4756"/>
                  </a:lnTo>
                  <a:lnTo>
                    <a:pt x="2354" y="5224"/>
                  </a:lnTo>
                  <a:lnTo>
                    <a:pt x="2674" y="4756"/>
                  </a:lnTo>
                  <a:lnTo>
                    <a:pt x="4387" y="4756"/>
                  </a:lnTo>
                  <a:cubicBezTo>
                    <a:pt x="4572" y="4756"/>
                    <a:pt x="4720" y="4608"/>
                    <a:pt x="4720" y="4423"/>
                  </a:cubicBezTo>
                  <a:lnTo>
                    <a:pt x="4720" y="333"/>
                  </a:lnTo>
                  <a:cubicBezTo>
                    <a:pt x="4720" y="148"/>
                    <a:pt x="4572" y="0"/>
                    <a:pt x="438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" name="Google Shape;672;p48"/>
            <p:cNvSpPr/>
            <p:nvPr/>
          </p:nvSpPr>
          <p:spPr>
            <a:xfrm>
              <a:off x="2921990" y="3212803"/>
              <a:ext cx="1104050" cy="1191534"/>
            </a:xfrm>
            <a:custGeom>
              <a:avLst/>
              <a:gdLst/>
              <a:ahLst/>
              <a:cxnLst/>
              <a:rect l="l" t="t" r="r" b="b"/>
              <a:pathLst>
                <a:path w="4733" h="5225" extrusionOk="0">
                  <a:moveTo>
                    <a:pt x="2367" y="0"/>
                  </a:moveTo>
                  <a:lnTo>
                    <a:pt x="2059" y="469"/>
                  </a:lnTo>
                  <a:lnTo>
                    <a:pt x="346" y="469"/>
                  </a:lnTo>
                  <a:cubicBezTo>
                    <a:pt x="161" y="469"/>
                    <a:pt x="1" y="616"/>
                    <a:pt x="1" y="801"/>
                  </a:cubicBezTo>
                  <a:lnTo>
                    <a:pt x="1" y="4892"/>
                  </a:lnTo>
                  <a:cubicBezTo>
                    <a:pt x="1" y="5077"/>
                    <a:pt x="161" y="5225"/>
                    <a:pt x="346" y="5225"/>
                  </a:cubicBezTo>
                  <a:lnTo>
                    <a:pt x="4400" y="5225"/>
                  </a:lnTo>
                  <a:cubicBezTo>
                    <a:pt x="4584" y="5225"/>
                    <a:pt x="4732" y="5077"/>
                    <a:pt x="4732" y="4892"/>
                  </a:cubicBezTo>
                  <a:lnTo>
                    <a:pt x="4732" y="801"/>
                  </a:lnTo>
                  <a:cubicBezTo>
                    <a:pt x="4732" y="616"/>
                    <a:pt x="4584" y="469"/>
                    <a:pt x="4400" y="469"/>
                  </a:cubicBezTo>
                  <a:lnTo>
                    <a:pt x="2687" y="469"/>
                  </a:lnTo>
                  <a:lnTo>
                    <a:pt x="236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" name="Google Shape;673;p48"/>
            <p:cNvSpPr/>
            <p:nvPr/>
          </p:nvSpPr>
          <p:spPr>
            <a:xfrm>
              <a:off x="5000161" y="3212803"/>
              <a:ext cx="1103817" cy="1191534"/>
            </a:xfrm>
            <a:custGeom>
              <a:avLst/>
              <a:gdLst/>
              <a:ahLst/>
              <a:cxnLst/>
              <a:rect l="l" t="t" r="r" b="b"/>
              <a:pathLst>
                <a:path w="4732" h="5225" extrusionOk="0">
                  <a:moveTo>
                    <a:pt x="2366" y="0"/>
                  </a:moveTo>
                  <a:lnTo>
                    <a:pt x="2058" y="469"/>
                  </a:lnTo>
                  <a:lnTo>
                    <a:pt x="358" y="469"/>
                  </a:lnTo>
                  <a:cubicBezTo>
                    <a:pt x="350" y="468"/>
                    <a:pt x="343" y="468"/>
                    <a:pt x="336" y="468"/>
                  </a:cubicBezTo>
                  <a:cubicBezTo>
                    <a:pt x="149" y="468"/>
                    <a:pt x="0" y="623"/>
                    <a:pt x="0" y="801"/>
                  </a:cubicBezTo>
                  <a:lnTo>
                    <a:pt x="0" y="4892"/>
                  </a:lnTo>
                  <a:cubicBezTo>
                    <a:pt x="0" y="5077"/>
                    <a:pt x="148" y="5225"/>
                    <a:pt x="333" y="5225"/>
                  </a:cubicBezTo>
                  <a:lnTo>
                    <a:pt x="4387" y="5225"/>
                  </a:lnTo>
                  <a:cubicBezTo>
                    <a:pt x="4572" y="5225"/>
                    <a:pt x="4732" y="5077"/>
                    <a:pt x="4732" y="4892"/>
                  </a:cubicBezTo>
                  <a:lnTo>
                    <a:pt x="4732" y="801"/>
                  </a:lnTo>
                  <a:cubicBezTo>
                    <a:pt x="4732" y="616"/>
                    <a:pt x="4572" y="469"/>
                    <a:pt x="4387" y="469"/>
                  </a:cubicBezTo>
                  <a:lnTo>
                    <a:pt x="2674" y="469"/>
                  </a:lnTo>
                  <a:lnTo>
                    <a:pt x="236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48"/>
            <p:cNvSpPr/>
            <p:nvPr/>
          </p:nvSpPr>
          <p:spPr>
            <a:xfrm>
              <a:off x="6040529" y="1611245"/>
              <a:ext cx="1104050" cy="1191534"/>
            </a:xfrm>
            <a:custGeom>
              <a:avLst/>
              <a:gdLst/>
              <a:ahLst/>
              <a:cxnLst/>
              <a:rect l="l" t="t" r="r" b="b"/>
              <a:pathLst>
                <a:path w="4733" h="5225" extrusionOk="0">
                  <a:moveTo>
                    <a:pt x="346" y="0"/>
                  </a:moveTo>
                  <a:cubicBezTo>
                    <a:pt x="148" y="0"/>
                    <a:pt x="1" y="148"/>
                    <a:pt x="1" y="333"/>
                  </a:cubicBezTo>
                  <a:lnTo>
                    <a:pt x="1" y="4423"/>
                  </a:lnTo>
                  <a:cubicBezTo>
                    <a:pt x="1" y="4608"/>
                    <a:pt x="148" y="4756"/>
                    <a:pt x="346" y="4756"/>
                  </a:cubicBezTo>
                  <a:lnTo>
                    <a:pt x="2046" y="4756"/>
                  </a:lnTo>
                  <a:lnTo>
                    <a:pt x="2366" y="5224"/>
                  </a:lnTo>
                  <a:lnTo>
                    <a:pt x="2674" y="4756"/>
                  </a:lnTo>
                  <a:lnTo>
                    <a:pt x="4387" y="4756"/>
                  </a:lnTo>
                  <a:cubicBezTo>
                    <a:pt x="4394" y="4757"/>
                    <a:pt x="4400" y="4757"/>
                    <a:pt x="4407" y="4757"/>
                  </a:cubicBezTo>
                  <a:cubicBezTo>
                    <a:pt x="4583" y="4757"/>
                    <a:pt x="4732" y="4602"/>
                    <a:pt x="4732" y="4423"/>
                  </a:cubicBezTo>
                  <a:lnTo>
                    <a:pt x="4732" y="333"/>
                  </a:lnTo>
                  <a:cubicBezTo>
                    <a:pt x="4732" y="148"/>
                    <a:pt x="4572" y="0"/>
                    <a:pt x="438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" name="Google Shape;675;p48"/>
            <p:cNvSpPr/>
            <p:nvPr/>
          </p:nvSpPr>
          <p:spPr>
            <a:xfrm>
              <a:off x="1976560" y="2983732"/>
              <a:ext cx="5259926" cy="48117"/>
            </a:xfrm>
            <a:custGeom>
              <a:avLst/>
              <a:gdLst/>
              <a:ahLst/>
              <a:cxnLst/>
              <a:rect l="l" t="t" r="r" b="b"/>
              <a:pathLst>
                <a:path w="22549" h="211" extrusionOk="0">
                  <a:moveTo>
                    <a:pt x="0" y="1"/>
                  </a:moveTo>
                  <a:lnTo>
                    <a:pt x="0" y="210"/>
                  </a:lnTo>
                  <a:lnTo>
                    <a:pt x="22548" y="210"/>
                  </a:lnTo>
                  <a:lnTo>
                    <a:pt x="22548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" name="Google Shape;676;p48"/>
            <p:cNvSpPr/>
            <p:nvPr/>
          </p:nvSpPr>
          <p:spPr>
            <a:xfrm>
              <a:off x="2284006" y="2909504"/>
              <a:ext cx="267557" cy="224852"/>
            </a:xfrm>
            <a:custGeom>
              <a:avLst/>
              <a:gdLst/>
              <a:ahLst/>
              <a:cxnLst/>
              <a:rect l="l" t="t" r="r" b="b"/>
              <a:pathLst>
                <a:path w="1147" h="986" extrusionOk="0">
                  <a:moveTo>
                    <a:pt x="643" y="0"/>
                  </a:moveTo>
                  <a:cubicBezTo>
                    <a:pt x="525" y="0"/>
                    <a:pt x="406" y="42"/>
                    <a:pt x="309" y="135"/>
                  </a:cubicBezTo>
                  <a:cubicBezTo>
                    <a:pt x="1" y="443"/>
                    <a:pt x="210" y="973"/>
                    <a:pt x="654" y="985"/>
                  </a:cubicBezTo>
                  <a:cubicBezTo>
                    <a:pt x="925" y="985"/>
                    <a:pt x="1134" y="764"/>
                    <a:pt x="1146" y="492"/>
                  </a:cubicBezTo>
                  <a:cubicBezTo>
                    <a:pt x="1146" y="197"/>
                    <a:pt x="898" y="0"/>
                    <a:pt x="64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" name="Google Shape;677;p48"/>
            <p:cNvSpPr/>
            <p:nvPr/>
          </p:nvSpPr>
          <p:spPr>
            <a:xfrm>
              <a:off x="3321575" y="2909732"/>
              <a:ext cx="267557" cy="224624"/>
            </a:xfrm>
            <a:custGeom>
              <a:avLst/>
              <a:gdLst/>
              <a:ahLst/>
              <a:cxnLst/>
              <a:rect l="l" t="t" r="r" b="b"/>
              <a:pathLst>
                <a:path w="1147" h="985" extrusionOk="0">
                  <a:moveTo>
                    <a:pt x="656" y="0"/>
                  </a:moveTo>
                  <a:cubicBezTo>
                    <a:pt x="534" y="0"/>
                    <a:pt x="409" y="46"/>
                    <a:pt x="309" y="146"/>
                  </a:cubicBezTo>
                  <a:cubicBezTo>
                    <a:pt x="1" y="454"/>
                    <a:pt x="222" y="984"/>
                    <a:pt x="654" y="984"/>
                  </a:cubicBezTo>
                  <a:cubicBezTo>
                    <a:pt x="925" y="984"/>
                    <a:pt x="1147" y="763"/>
                    <a:pt x="1147" y="491"/>
                  </a:cubicBezTo>
                  <a:cubicBezTo>
                    <a:pt x="1147" y="193"/>
                    <a:pt x="906" y="0"/>
                    <a:pt x="65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" name="Google Shape;678;p48"/>
            <p:cNvSpPr/>
            <p:nvPr/>
          </p:nvSpPr>
          <p:spPr>
            <a:xfrm>
              <a:off x="4359144" y="2909276"/>
              <a:ext cx="267557" cy="223940"/>
            </a:xfrm>
            <a:custGeom>
              <a:avLst/>
              <a:gdLst/>
              <a:ahLst/>
              <a:cxnLst/>
              <a:rect l="l" t="t" r="r" b="b"/>
              <a:pathLst>
                <a:path w="1147" h="982" extrusionOk="0">
                  <a:moveTo>
                    <a:pt x="666" y="1"/>
                  </a:moveTo>
                  <a:cubicBezTo>
                    <a:pt x="222" y="1"/>
                    <a:pt x="1" y="530"/>
                    <a:pt x="309" y="838"/>
                  </a:cubicBezTo>
                  <a:cubicBezTo>
                    <a:pt x="408" y="938"/>
                    <a:pt x="530" y="982"/>
                    <a:pt x="650" y="982"/>
                  </a:cubicBezTo>
                  <a:cubicBezTo>
                    <a:pt x="903" y="982"/>
                    <a:pt x="1147" y="786"/>
                    <a:pt x="1147" y="493"/>
                  </a:cubicBezTo>
                  <a:cubicBezTo>
                    <a:pt x="1147" y="222"/>
                    <a:pt x="925" y="1"/>
                    <a:pt x="66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" name="Google Shape;679;p48"/>
            <p:cNvSpPr/>
            <p:nvPr/>
          </p:nvSpPr>
          <p:spPr>
            <a:xfrm>
              <a:off x="5399513" y="2909732"/>
              <a:ext cx="264757" cy="224624"/>
            </a:xfrm>
            <a:custGeom>
              <a:avLst/>
              <a:gdLst/>
              <a:ahLst/>
              <a:cxnLst/>
              <a:rect l="l" t="t" r="r" b="b"/>
              <a:pathLst>
                <a:path w="1135" h="985" extrusionOk="0">
                  <a:moveTo>
                    <a:pt x="653" y="0"/>
                  </a:moveTo>
                  <a:cubicBezTo>
                    <a:pt x="533" y="0"/>
                    <a:pt x="410" y="46"/>
                    <a:pt x="309" y="146"/>
                  </a:cubicBezTo>
                  <a:cubicBezTo>
                    <a:pt x="1" y="454"/>
                    <a:pt x="210" y="984"/>
                    <a:pt x="654" y="984"/>
                  </a:cubicBezTo>
                  <a:cubicBezTo>
                    <a:pt x="925" y="984"/>
                    <a:pt x="1135" y="763"/>
                    <a:pt x="1135" y="491"/>
                  </a:cubicBezTo>
                  <a:cubicBezTo>
                    <a:pt x="1135" y="193"/>
                    <a:pt x="900" y="0"/>
                    <a:pt x="65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" name="Google Shape;680;p48"/>
            <p:cNvSpPr/>
            <p:nvPr/>
          </p:nvSpPr>
          <p:spPr>
            <a:xfrm>
              <a:off x="6474638" y="2909276"/>
              <a:ext cx="267557" cy="223940"/>
            </a:xfrm>
            <a:custGeom>
              <a:avLst/>
              <a:gdLst/>
              <a:ahLst/>
              <a:cxnLst/>
              <a:rect l="l" t="t" r="r" b="b"/>
              <a:pathLst>
                <a:path w="1147" h="982" extrusionOk="0">
                  <a:moveTo>
                    <a:pt x="493" y="1"/>
                  </a:moveTo>
                  <a:cubicBezTo>
                    <a:pt x="222" y="1"/>
                    <a:pt x="0" y="222"/>
                    <a:pt x="0" y="493"/>
                  </a:cubicBezTo>
                  <a:cubicBezTo>
                    <a:pt x="0" y="786"/>
                    <a:pt x="244" y="982"/>
                    <a:pt x="497" y="982"/>
                  </a:cubicBezTo>
                  <a:cubicBezTo>
                    <a:pt x="617" y="982"/>
                    <a:pt x="739" y="938"/>
                    <a:pt x="838" y="838"/>
                  </a:cubicBezTo>
                  <a:cubicBezTo>
                    <a:pt x="1146" y="530"/>
                    <a:pt x="924" y="1"/>
                    <a:pt x="493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81" name="Google Shape;681;p48"/>
          <p:cNvSpPr txBox="1">
            <a:spLocks noGrp="1"/>
          </p:cNvSpPr>
          <p:nvPr>
            <p:ph type="title"/>
          </p:nvPr>
        </p:nvSpPr>
        <p:spPr>
          <a:xfrm>
            <a:off x="377300" y="15151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Timeline (Other modules also available)</a:t>
            </a:r>
            <a:endParaRPr dirty="0"/>
          </a:p>
        </p:txBody>
      </p:sp>
      <p:sp>
        <p:nvSpPr>
          <p:cNvPr id="682" name="Google Shape;682;p48"/>
          <p:cNvSpPr txBox="1">
            <a:spLocks noGrp="1"/>
          </p:cNvSpPr>
          <p:nvPr>
            <p:ph type="body" idx="4294967295"/>
          </p:nvPr>
        </p:nvSpPr>
        <p:spPr>
          <a:xfrm>
            <a:off x="1907525" y="1860550"/>
            <a:ext cx="1099500" cy="819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000" dirty="0">
              <a:solidFill>
                <a:schemeClr val="dk1"/>
              </a:solidFill>
              <a:latin typeface="Ubuntu"/>
              <a:ea typeface="Ubuntu"/>
              <a:cs typeface="Ubuntu"/>
              <a:sym typeface="Ubuntu"/>
            </a:endParaRPr>
          </a:p>
        </p:txBody>
      </p:sp>
      <p:sp>
        <p:nvSpPr>
          <p:cNvPr id="683" name="Google Shape;683;p48"/>
          <p:cNvSpPr txBox="1">
            <a:spLocks noGrp="1"/>
          </p:cNvSpPr>
          <p:nvPr>
            <p:ph type="body" idx="4294967295"/>
          </p:nvPr>
        </p:nvSpPr>
        <p:spPr>
          <a:xfrm>
            <a:off x="2003525" y="1688925"/>
            <a:ext cx="854100" cy="237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1200">
                <a:solidFill>
                  <a:schemeClr val="dk1"/>
                </a:solidFill>
                <a:latin typeface="Ubuntu Medium"/>
                <a:ea typeface="Ubuntu Medium"/>
                <a:cs typeface="Ubuntu Medium"/>
                <a:sym typeface="Ubuntu Medium"/>
              </a:rPr>
              <a:t>DAY 1</a:t>
            </a:r>
            <a:endParaRPr sz="1200">
              <a:solidFill>
                <a:schemeClr val="dk1"/>
              </a:solidFill>
              <a:latin typeface="Ubuntu Medium"/>
              <a:ea typeface="Ubuntu Medium"/>
              <a:cs typeface="Ubuntu Medium"/>
              <a:sym typeface="Ubuntu Medium"/>
            </a:endParaRPr>
          </a:p>
        </p:txBody>
      </p:sp>
      <p:sp>
        <p:nvSpPr>
          <p:cNvPr id="684" name="Google Shape;684;p48"/>
          <p:cNvSpPr txBox="1">
            <a:spLocks noGrp="1"/>
          </p:cNvSpPr>
          <p:nvPr>
            <p:ph type="body" idx="4294967295"/>
          </p:nvPr>
        </p:nvSpPr>
        <p:spPr>
          <a:xfrm>
            <a:off x="3962475" y="1877725"/>
            <a:ext cx="1099500" cy="679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000" dirty="0">
              <a:solidFill>
                <a:schemeClr val="dk1"/>
              </a:solidFill>
              <a:latin typeface="Ubuntu"/>
              <a:ea typeface="Ubuntu"/>
              <a:cs typeface="Ubuntu"/>
              <a:sym typeface="Ubuntu"/>
            </a:endParaRPr>
          </a:p>
        </p:txBody>
      </p:sp>
      <p:sp>
        <p:nvSpPr>
          <p:cNvPr id="685" name="Google Shape;685;p48"/>
          <p:cNvSpPr txBox="1">
            <a:spLocks noGrp="1"/>
          </p:cNvSpPr>
          <p:nvPr>
            <p:ph type="body" idx="4294967295"/>
          </p:nvPr>
        </p:nvSpPr>
        <p:spPr>
          <a:xfrm>
            <a:off x="4095200" y="1688913"/>
            <a:ext cx="854100" cy="33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1200">
                <a:solidFill>
                  <a:schemeClr val="dk1"/>
                </a:solidFill>
                <a:latin typeface="Ubuntu Medium"/>
                <a:ea typeface="Ubuntu Medium"/>
                <a:cs typeface="Ubuntu Medium"/>
                <a:sym typeface="Ubuntu Medium"/>
              </a:rPr>
              <a:t>DAY 3</a:t>
            </a:r>
            <a:endParaRPr sz="1200">
              <a:solidFill>
                <a:schemeClr val="dk1"/>
              </a:solidFill>
              <a:latin typeface="Ubuntu Medium"/>
              <a:ea typeface="Ubuntu Medium"/>
              <a:cs typeface="Ubuntu Medium"/>
              <a:sym typeface="Ubuntu Medium"/>
            </a:endParaRPr>
          </a:p>
        </p:txBody>
      </p:sp>
      <p:sp>
        <p:nvSpPr>
          <p:cNvPr id="686" name="Google Shape;686;p48"/>
          <p:cNvSpPr txBox="1">
            <a:spLocks noGrp="1"/>
          </p:cNvSpPr>
          <p:nvPr>
            <p:ph type="body" idx="4294967295"/>
          </p:nvPr>
        </p:nvSpPr>
        <p:spPr>
          <a:xfrm>
            <a:off x="2942200" y="3623600"/>
            <a:ext cx="1057200" cy="679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000" dirty="0">
              <a:solidFill>
                <a:schemeClr val="dk1"/>
              </a:solidFill>
              <a:latin typeface="Ubuntu"/>
              <a:ea typeface="Ubuntu"/>
              <a:cs typeface="Ubuntu"/>
              <a:sym typeface="Ubuntu"/>
            </a:endParaRPr>
          </a:p>
        </p:txBody>
      </p:sp>
      <p:sp>
        <p:nvSpPr>
          <p:cNvPr id="687" name="Google Shape;687;p48"/>
          <p:cNvSpPr txBox="1">
            <a:spLocks noGrp="1"/>
          </p:cNvSpPr>
          <p:nvPr>
            <p:ph type="body" idx="4294967295"/>
          </p:nvPr>
        </p:nvSpPr>
        <p:spPr>
          <a:xfrm>
            <a:off x="3022675" y="3403413"/>
            <a:ext cx="854100" cy="33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1200">
                <a:solidFill>
                  <a:schemeClr val="dk1"/>
                </a:solidFill>
                <a:latin typeface="Ubuntu Medium"/>
                <a:ea typeface="Ubuntu Medium"/>
                <a:cs typeface="Ubuntu Medium"/>
                <a:sym typeface="Ubuntu Medium"/>
              </a:rPr>
              <a:t>DAY 2</a:t>
            </a:r>
            <a:endParaRPr sz="1200">
              <a:solidFill>
                <a:schemeClr val="dk1"/>
              </a:solidFill>
              <a:latin typeface="Ubuntu Medium"/>
              <a:ea typeface="Ubuntu Medium"/>
              <a:cs typeface="Ubuntu Medium"/>
              <a:sym typeface="Ubuntu Medium"/>
            </a:endParaRPr>
          </a:p>
        </p:txBody>
      </p:sp>
      <p:sp>
        <p:nvSpPr>
          <p:cNvPr id="688" name="Google Shape;688;p48"/>
          <p:cNvSpPr txBox="1">
            <a:spLocks noGrp="1"/>
          </p:cNvSpPr>
          <p:nvPr>
            <p:ph type="body" idx="4294967295"/>
          </p:nvPr>
        </p:nvSpPr>
        <p:spPr>
          <a:xfrm>
            <a:off x="4991100" y="3623600"/>
            <a:ext cx="1128300" cy="679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000" dirty="0">
              <a:solidFill>
                <a:schemeClr val="dk1"/>
              </a:solidFill>
              <a:latin typeface="Ubuntu"/>
              <a:ea typeface="Ubuntu"/>
              <a:cs typeface="Ubuntu"/>
              <a:sym typeface="Ubuntu"/>
            </a:endParaRPr>
          </a:p>
        </p:txBody>
      </p:sp>
      <p:sp>
        <p:nvSpPr>
          <p:cNvPr id="689" name="Google Shape;689;p48"/>
          <p:cNvSpPr txBox="1">
            <a:spLocks noGrp="1"/>
          </p:cNvSpPr>
          <p:nvPr>
            <p:ph type="body" idx="4294967295"/>
          </p:nvPr>
        </p:nvSpPr>
        <p:spPr>
          <a:xfrm>
            <a:off x="5140800" y="3403425"/>
            <a:ext cx="854100" cy="33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1200">
                <a:solidFill>
                  <a:schemeClr val="dk1"/>
                </a:solidFill>
                <a:latin typeface="Ubuntu Medium"/>
                <a:ea typeface="Ubuntu Medium"/>
                <a:cs typeface="Ubuntu Medium"/>
                <a:sym typeface="Ubuntu Medium"/>
              </a:rPr>
              <a:t>DAY 4</a:t>
            </a:r>
            <a:endParaRPr sz="1200">
              <a:solidFill>
                <a:schemeClr val="dk1"/>
              </a:solidFill>
              <a:latin typeface="Ubuntu Medium"/>
              <a:ea typeface="Ubuntu Medium"/>
              <a:cs typeface="Ubuntu Medium"/>
              <a:sym typeface="Ubuntu Medium"/>
            </a:endParaRPr>
          </a:p>
        </p:txBody>
      </p:sp>
      <p:sp>
        <p:nvSpPr>
          <p:cNvPr id="690" name="Google Shape;690;p48"/>
          <p:cNvSpPr txBox="1"/>
          <p:nvPr/>
        </p:nvSpPr>
        <p:spPr>
          <a:xfrm>
            <a:off x="5954025" y="1909100"/>
            <a:ext cx="1282500" cy="67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00" dirty="0">
              <a:solidFill>
                <a:schemeClr val="dk1"/>
              </a:solidFill>
              <a:latin typeface="Ubuntu"/>
              <a:ea typeface="Ubuntu"/>
              <a:cs typeface="Ubuntu"/>
              <a:sym typeface="Ubuntu"/>
            </a:endParaRPr>
          </a:p>
        </p:txBody>
      </p:sp>
      <p:sp>
        <p:nvSpPr>
          <p:cNvPr id="691" name="Google Shape;691;p48"/>
          <p:cNvSpPr txBox="1"/>
          <p:nvPr/>
        </p:nvSpPr>
        <p:spPr>
          <a:xfrm>
            <a:off x="6186875" y="1688925"/>
            <a:ext cx="854100" cy="33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1200">
                <a:solidFill>
                  <a:schemeClr val="dk1"/>
                </a:solidFill>
                <a:latin typeface="Ubuntu Medium"/>
                <a:ea typeface="Ubuntu Medium"/>
                <a:cs typeface="Ubuntu Medium"/>
                <a:sym typeface="Ubuntu Medium"/>
              </a:rPr>
              <a:t>DAY 5</a:t>
            </a:r>
            <a:endParaRPr sz="1200">
              <a:solidFill>
                <a:schemeClr val="dk1"/>
              </a:solidFill>
              <a:latin typeface="Ubuntu Medium"/>
              <a:ea typeface="Ubuntu Medium"/>
              <a:cs typeface="Ubuntu Medium"/>
              <a:sym typeface="Ubuntu Medium"/>
            </a:endParaRPr>
          </a:p>
        </p:txBody>
      </p:sp>
      <p:sp>
        <p:nvSpPr>
          <p:cNvPr id="692" name="Google Shape;692;p48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0</a:t>
            </a:fld>
            <a:endParaRPr dirty="0"/>
          </a:p>
        </p:txBody>
      </p:sp>
      <p:grpSp>
        <p:nvGrpSpPr>
          <p:cNvPr id="42" name="Stages_processing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098650" y="526075"/>
            <a:ext cx="904875" cy="542925"/>
            <a:chOff x="4813300" y="3749675"/>
            <a:chExt cx="1119188" cy="671513"/>
          </a:xfrm>
          <a:solidFill>
            <a:schemeClr val="accent1"/>
          </a:solidFill>
        </p:grpSpPr>
        <p:sp>
          <p:nvSpPr>
            <p:cNvPr id="43" name="Freeform 115"/>
            <p:cNvSpPr>
              <a:spLocks noEditPoints="1"/>
            </p:cNvSpPr>
            <p:nvPr/>
          </p:nvSpPr>
          <p:spPr bwMode="auto">
            <a:xfrm>
              <a:off x="4813300" y="3749675"/>
              <a:ext cx="331788" cy="671513"/>
            </a:xfrm>
            <a:custGeom>
              <a:avLst/>
              <a:gdLst>
                <a:gd name="T0" fmla="*/ 92 w 550"/>
                <a:gd name="T1" fmla="*/ 956 h 1116"/>
                <a:gd name="T2" fmla="*/ 275 w 550"/>
                <a:gd name="T3" fmla="*/ 956 h 1116"/>
                <a:gd name="T4" fmla="*/ 275 w 550"/>
                <a:gd name="T5" fmla="*/ 1006 h 1116"/>
                <a:gd name="T6" fmla="*/ 92 w 550"/>
                <a:gd name="T7" fmla="*/ 1006 h 1116"/>
                <a:gd name="T8" fmla="*/ 92 w 550"/>
                <a:gd name="T9" fmla="*/ 956 h 1116"/>
                <a:gd name="T10" fmla="*/ 92 w 550"/>
                <a:gd name="T11" fmla="*/ 822 h 1116"/>
                <a:gd name="T12" fmla="*/ 459 w 550"/>
                <a:gd name="T13" fmla="*/ 822 h 1116"/>
                <a:gd name="T14" fmla="*/ 459 w 550"/>
                <a:gd name="T15" fmla="*/ 872 h 1116"/>
                <a:gd name="T16" fmla="*/ 92 w 550"/>
                <a:gd name="T17" fmla="*/ 872 h 1116"/>
                <a:gd name="T18" fmla="*/ 92 w 550"/>
                <a:gd name="T19" fmla="*/ 822 h 1116"/>
                <a:gd name="T20" fmla="*/ 92 w 550"/>
                <a:gd name="T21" fmla="*/ 706 h 1116"/>
                <a:gd name="T22" fmla="*/ 459 w 550"/>
                <a:gd name="T23" fmla="*/ 706 h 1116"/>
                <a:gd name="T24" fmla="*/ 459 w 550"/>
                <a:gd name="T25" fmla="*/ 756 h 1116"/>
                <a:gd name="T26" fmla="*/ 92 w 550"/>
                <a:gd name="T27" fmla="*/ 756 h 1116"/>
                <a:gd name="T28" fmla="*/ 92 w 550"/>
                <a:gd name="T29" fmla="*/ 706 h 1116"/>
                <a:gd name="T30" fmla="*/ 92 w 550"/>
                <a:gd name="T31" fmla="*/ 589 h 1116"/>
                <a:gd name="T32" fmla="*/ 459 w 550"/>
                <a:gd name="T33" fmla="*/ 589 h 1116"/>
                <a:gd name="T34" fmla="*/ 459 w 550"/>
                <a:gd name="T35" fmla="*/ 639 h 1116"/>
                <a:gd name="T36" fmla="*/ 92 w 550"/>
                <a:gd name="T37" fmla="*/ 639 h 1116"/>
                <a:gd name="T38" fmla="*/ 92 w 550"/>
                <a:gd name="T39" fmla="*/ 589 h 1116"/>
                <a:gd name="T40" fmla="*/ 270 w 550"/>
                <a:gd name="T41" fmla="*/ 110 h 1116"/>
                <a:gd name="T42" fmla="*/ 332 w 550"/>
                <a:gd name="T43" fmla="*/ 110 h 1116"/>
                <a:gd name="T44" fmla="*/ 332 w 550"/>
                <a:gd name="T45" fmla="*/ 429 h 1116"/>
                <a:gd name="T46" fmla="*/ 260 w 550"/>
                <a:gd name="T47" fmla="*/ 429 h 1116"/>
                <a:gd name="T48" fmla="*/ 260 w 550"/>
                <a:gd name="T49" fmla="*/ 177 h 1116"/>
                <a:gd name="T50" fmla="*/ 259 w 550"/>
                <a:gd name="T51" fmla="*/ 177 h 1116"/>
                <a:gd name="T52" fmla="*/ 198 w 550"/>
                <a:gd name="T53" fmla="*/ 205 h 1116"/>
                <a:gd name="T54" fmla="*/ 186 w 550"/>
                <a:gd name="T55" fmla="*/ 150 h 1116"/>
                <a:gd name="T56" fmla="*/ 270 w 550"/>
                <a:gd name="T57" fmla="*/ 110 h 1116"/>
                <a:gd name="T58" fmla="*/ 0 w 550"/>
                <a:gd name="T59" fmla="*/ 1116 h 1116"/>
                <a:gd name="T60" fmla="*/ 550 w 550"/>
                <a:gd name="T61" fmla="*/ 1116 h 1116"/>
                <a:gd name="T62" fmla="*/ 550 w 550"/>
                <a:gd name="T63" fmla="*/ 0 h 1116"/>
                <a:gd name="T64" fmla="*/ 0 w 550"/>
                <a:gd name="T65" fmla="*/ 0 h 1116"/>
                <a:gd name="T66" fmla="*/ 0 w 550"/>
                <a:gd name="T67" fmla="*/ 1116 h 1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50" h="1116">
                  <a:moveTo>
                    <a:pt x="92" y="956"/>
                  </a:moveTo>
                  <a:lnTo>
                    <a:pt x="275" y="956"/>
                  </a:lnTo>
                  <a:lnTo>
                    <a:pt x="275" y="1006"/>
                  </a:lnTo>
                  <a:lnTo>
                    <a:pt x="92" y="1006"/>
                  </a:lnTo>
                  <a:lnTo>
                    <a:pt x="92" y="956"/>
                  </a:lnTo>
                  <a:close/>
                  <a:moveTo>
                    <a:pt x="92" y="822"/>
                  </a:moveTo>
                  <a:lnTo>
                    <a:pt x="459" y="822"/>
                  </a:lnTo>
                  <a:lnTo>
                    <a:pt x="459" y="872"/>
                  </a:lnTo>
                  <a:lnTo>
                    <a:pt x="92" y="872"/>
                  </a:lnTo>
                  <a:lnTo>
                    <a:pt x="92" y="822"/>
                  </a:lnTo>
                  <a:close/>
                  <a:moveTo>
                    <a:pt x="92" y="706"/>
                  </a:moveTo>
                  <a:lnTo>
                    <a:pt x="459" y="706"/>
                  </a:lnTo>
                  <a:lnTo>
                    <a:pt x="459" y="756"/>
                  </a:lnTo>
                  <a:lnTo>
                    <a:pt x="92" y="756"/>
                  </a:lnTo>
                  <a:lnTo>
                    <a:pt x="92" y="706"/>
                  </a:lnTo>
                  <a:close/>
                  <a:moveTo>
                    <a:pt x="92" y="589"/>
                  </a:moveTo>
                  <a:lnTo>
                    <a:pt x="459" y="589"/>
                  </a:lnTo>
                  <a:lnTo>
                    <a:pt x="459" y="639"/>
                  </a:lnTo>
                  <a:lnTo>
                    <a:pt x="92" y="639"/>
                  </a:lnTo>
                  <a:lnTo>
                    <a:pt x="92" y="589"/>
                  </a:lnTo>
                  <a:close/>
                  <a:moveTo>
                    <a:pt x="270" y="110"/>
                  </a:moveTo>
                  <a:lnTo>
                    <a:pt x="332" y="110"/>
                  </a:lnTo>
                  <a:lnTo>
                    <a:pt x="332" y="429"/>
                  </a:lnTo>
                  <a:lnTo>
                    <a:pt x="260" y="429"/>
                  </a:lnTo>
                  <a:lnTo>
                    <a:pt x="260" y="177"/>
                  </a:lnTo>
                  <a:lnTo>
                    <a:pt x="259" y="177"/>
                  </a:lnTo>
                  <a:lnTo>
                    <a:pt x="198" y="205"/>
                  </a:lnTo>
                  <a:lnTo>
                    <a:pt x="186" y="150"/>
                  </a:lnTo>
                  <a:lnTo>
                    <a:pt x="270" y="110"/>
                  </a:lnTo>
                  <a:close/>
                  <a:moveTo>
                    <a:pt x="0" y="1116"/>
                  </a:moveTo>
                  <a:lnTo>
                    <a:pt x="550" y="1116"/>
                  </a:lnTo>
                  <a:lnTo>
                    <a:pt x="550" y="0"/>
                  </a:lnTo>
                  <a:lnTo>
                    <a:pt x="0" y="0"/>
                  </a:lnTo>
                  <a:lnTo>
                    <a:pt x="0" y="111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116"/>
            <p:cNvSpPr>
              <a:spLocks noEditPoints="1"/>
            </p:cNvSpPr>
            <p:nvPr/>
          </p:nvSpPr>
          <p:spPr bwMode="auto">
            <a:xfrm>
              <a:off x="5210175" y="3749675"/>
              <a:ext cx="331788" cy="671513"/>
            </a:xfrm>
            <a:custGeom>
              <a:avLst/>
              <a:gdLst>
                <a:gd name="T0" fmla="*/ 83 w 550"/>
                <a:gd name="T1" fmla="*/ 822 h 1116"/>
                <a:gd name="T2" fmla="*/ 338 w 550"/>
                <a:gd name="T3" fmla="*/ 822 h 1116"/>
                <a:gd name="T4" fmla="*/ 338 w 550"/>
                <a:gd name="T5" fmla="*/ 872 h 1116"/>
                <a:gd name="T6" fmla="*/ 83 w 550"/>
                <a:gd name="T7" fmla="*/ 872 h 1116"/>
                <a:gd name="T8" fmla="*/ 83 w 550"/>
                <a:gd name="T9" fmla="*/ 822 h 1116"/>
                <a:gd name="T10" fmla="*/ 83 w 550"/>
                <a:gd name="T11" fmla="*/ 706 h 1116"/>
                <a:gd name="T12" fmla="*/ 450 w 550"/>
                <a:gd name="T13" fmla="*/ 706 h 1116"/>
                <a:gd name="T14" fmla="*/ 450 w 550"/>
                <a:gd name="T15" fmla="*/ 756 h 1116"/>
                <a:gd name="T16" fmla="*/ 83 w 550"/>
                <a:gd name="T17" fmla="*/ 756 h 1116"/>
                <a:gd name="T18" fmla="*/ 83 w 550"/>
                <a:gd name="T19" fmla="*/ 706 h 1116"/>
                <a:gd name="T20" fmla="*/ 83 w 550"/>
                <a:gd name="T21" fmla="*/ 589 h 1116"/>
                <a:gd name="T22" fmla="*/ 450 w 550"/>
                <a:gd name="T23" fmla="*/ 589 h 1116"/>
                <a:gd name="T24" fmla="*/ 450 w 550"/>
                <a:gd name="T25" fmla="*/ 639 h 1116"/>
                <a:gd name="T26" fmla="*/ 83 w 550"/>
                <a:gd name="T27" fmla="*/ 639 h 1116"/>
                <a:gd name="T28" fmla="*/ 83 w 550"/>
                <a:gd name="T29" fmla="*/ 589 h 1116"/>
                <a:gd name="T30" fmla="*/ 163 w 550"/>
                <a:gd name="T31" fmla="*/ 386 h 1116"/>
                <a:gd name="T32" fmla="*/ 205 w 550"/>
                <a:gd name="T33" fmla="*/ 349 h 1116"/>
                <a:gd name="T34" fmla="*/ 309 w 550"/>
                <a:gd name="T35" fmla="*/ 214 h 1116"/>
                <a:gd name="T36" fmla="*/ 256 w 550"/>
                <a:gd name="T37" fmla="*/ 167 h 1116"/>
                <a:gd name="T38" fmla="*/ 188 w 550"/>
                <a:gd name="T39" fmla="*/ 194 h 1116"/>
                <a:gd name="T40" fmla="*/ 167 w 550"/>
                <a:gd name="T41" fmla="*/ 141 h 1116"/>
                <a:gd name="T42" fmla="*/ 272 w 550"/>
                <a:gd name="T43" fmla="*/ 108 h 1116"/>
                <a:gd name="T44" fmla="*/ 383 w 550"/>
                <a:gd name="T45" fmla="*/ 208 h 1116"/>
                <a:gd name="T46" fmla="*/ 299 w 550"/>
                <a:gd name="T47" fmla="*/ 345 h 1116"/>
                <a:gd name="T48" fmla="*/ 269 w 550"/>
                <a:gd name="T49" fmla="*/ 369 h 1116"/>
                <a:gd name="T50" fmla="*/ 269 w 550"/>
                <a:gd name="T51" fmla="*/ 370 h 1116"/>
                <a:gd name="T52" fmla="*/ 389 w 550"/>
                <a:gd name="T53" fmla="*/ 370 h 1116"/>
                <a:gd name="T54" fmla="*/ 389 w 550"/>
                <a:gd name="T55" fmla="*/ 431 h 1116"/>
                <a:gd name="T56" fmla="*/ 163 w 550"/>
                <a:gd name="T57" fmla="*/ 431 h 1116"/>
                <a:gd name="T58" fmla="*/ 163 w 550"/>
                <a:gd name="T59" fmla="*/ 386 h 1116"/>
                <a:gd name="T60" fmla="*/ 0 w 550"/>
                <a:gd name="T61" fmla="*/ 1116 h 1116"/>
                <a:gd name="T62" fmla="*/ 550 w 550"/>
                <a:gd name="T63" fmla="*/ 1116 h 1116"/>
                <a:gd name="T64" fmla="*/ 550 w 550"/>
                <a:gd name="T65" fmla="*/ 0 h 1116"/>
                <a:gd name="T66" fmla="*/ 0 w 550"/>
                <a:gd name="T67" fmla="*/ 0 h 1116"/>
                <a:gd name="T68" fmla="*/ 0 w 550"/>
                <a:gd name="T69" fmla="*/ 1116 h 1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50" h="1116">
                  <a:moveTo>
                    <a:pt x="83" y="822"/>
                  </a:moveTo>
                  <a:lnTo>
                    <a:pt x="338" y="822"/>
                  </a:lnTo>
                  <a:lnTo>
                    <a:pt x="338" y="872"/>
                  </a:lnTo>
                  <a:lnTo>
                    <a:pt x="83" y="872"/>
                  </a:lnTo>
                  <a:lnTo>
                    <a:pt x="83" y="822"/>
                  </a:lnTo>
                  <a:close/>
                  <a:moveTo>
                    <a:pt x="83" y="706"/>
                  </a:moveTo>
                  <a:lnTo>
                    <a:pt x="450" y="706"/>
                  </a:lnTo>
                  <a:lnTo>
                    <a:pt x="450" y="756"/>
                  </a:lnTo>
                  <a:lnTo>
                    <a:pt x="83" y="756"/>
                  </a:lnTo>
                  <a:lnTo>
                    <a:pt x="83" y="706"/>
                  </a:lnTo>
                  <a:close/>
                  <a:moveTo>
                    <a:pt x="83" y="589"/>
                  </a:moveTo>
                  <a:lnTo>
                    <a:pt x="450" y="589"/>
                  </a:lnTo>
                  <a:lnTo>
                    <a:pt x="450" y="639"/>
                  </a:lnTo>
                  <a:lnTo>
                    <a:pt x="83" y="639"/>
                  </a:lnTo>
                  <a:lnTo>
                    <a:pt x="83" y="589"/>
                  </a:lnTo>
                  <a:close/>
                  <a:moveTo>
                    <a:pt x="163" y="386"/>
                  </a:moveTo>
                  <a:lnTo>
                    <a:pt x="205" y="349"/>
                  </a:lnTo>
                  <a:cubicBezTo>
                    <a:pt x="274" y="287"/>
                    <a:pt x="308" y="251"/>
                    <a:pt x="309" y="214"/>
                  </a:cubicBezTo>
                  <a:cubicBezTo>
                    <a:pt x="309" y="188"/>
                    <a:pt x="293" y="167"/>
                    <a:pt x="256" y="167"/>
                  </a:cubicBezTo>
                  <a:cubicBezTo>
                    <a:pt x="229" y="167"/>
                    <a:pt x="205" y="181"/>
                    <a:pt x="188" y="194"/>
                  </a:cubicBezTo>
                  <a:lnTo>
                    <a:pt x="167" y="141"/>
                  </a:lnTo>
                  <a:cubicBezTo>
                    <a:pt x="191" y="122"/>
                    <a:pt x="229" y="108"/>
                    <a:pt x="272" y="108"/>
                  </a:cubicBezTo>
                  <a:cubicBezTo>
                    <a:pt x="344" y="108"/>
                    <a:pt x="383" y="150"/>
                    <a:pt x="383" y="208"/>
                  </a:cubicBezTo>
                  <a:cubicBezTo>
                    <a:pt x="383" y="261"/>
                    <a:pt x="345" y="304"/>
                    <a:pt x="299" y="345"/>
                  </a:cubicBezTo>
                  <a:lnTo>
                    <a:pt x="269" y="369"/>
                  </a:lnTo>
                  <a:lnTo>
                    <a:pt x="269" y="370"/>
                  </a:lnTo>
                  <a:lnTo>
                    <a:pt x="389" y="370"/>
                  </a:lnTo>
                  <a:lnTo>
                    <a:pt x="389" y="431"/>
                  </a:lnTo>
                  <a:lnTo>
                    <a:pt x="163" y="431"/>
                  </a:lnTo>
                  <a:lnTo>
                    <a:pt x="163" y="386"/>
                  </a:lnTo>
                  <a:close/>
                  <a:moveTo>
                    <a:pt x="0" y="1116"/>
                  </a:moveTo>
                  <a:lnTo>
                    <a:pt x="550" y="1116"/>
                  </a:lnTo>
                  <a:lnTo>
                    <a:pt x="550" y="0"/>
                  </a:lnTo>
                  <a:lnTo>
                    <a:pt x="0" y="0"/>
                  </a:lnTo>
                  <a:lnTo>
                    <a:pt x="0" y="111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117"/>
            <p:cNvSpPr>
              <a:spLocks noEditPoints="1"/>
            </p:cNvSpPr>
            <p:nvPr/>
          </p:nvSpPr>
          <p:spPr bwMode="auto">
            <a:xfrm>
              <a:off x="5602288" y="3749675"/>
              <a:ext cx="330200" cy="671513"/>
            </a:xfrm>
            <a:custGeom>
              <a:avLst/>
              <a:gdLst>
                <a:gd name="T0" fmla="*/ 450 w 550"/>
                <a:gd name="T1" fmla="*/ 639 h 1116"/>
                <a:gd name="T2" fmla="*/ 83 w 550"/>
                <a:gd name="T3" fmla="*/ 639 h 1116"/>
                <a:gd name="T4" fmla="*/ 83 w 550"/>
                <a:gd name="T5" fmla="*/ 589 h 1116"/>
                <a:gd name="T6" fmla="*/ 450 w 550"/>
                <a:gd name="T7" fmla="*/ 589 h 1116"/>
                <a:gd name="T8" fmla="*/ 450 w 550"/>
                <a:gd name="T9" fmla="*/ 639 h 1116"/>
                <a:gd name="T10" fmla="*/ 450 w 550"/>
                <a:gd name="T11" fmla="*/ 756 h 1116"/>
                <a:gd name="T12" fmla="*/ 83 w 550"/>
                <a:gd name="T13" fmla="*/ 756 h 1116"/>
                <a:gd name="T14" fmla="*/ 83 w 550"/>
                <a:gd name="T15" fmla="*/ 706 h 1116"/>
                <a:gd name="T16" fmla="*/ 450 w 550"/>
                <a:gd name="T17" fmla="*/ 706 h 1116"/>
                <a:gd name="T18" fmla="*/ 450 w 550"/>
                <a:gd name="T19" fmla="*/ 756 h 1116"/>
                <a:gd name="T20" fmla="*/ 450 w 550"/>
                <a:gd name="T21" fmla="*/ 872 h 1116"/>
                <a:gd name="T22" fmla="*/ 83 w 550"/>
                <a:gd name="T23" fmla="*/ 872 h 1116"/>
                <a:gd name="T24" fmla="*/ 83 w 550"/>
                <a:gd name="T25" fmla="*/ 822 h 1116"/>
                <a:gd name="T26" fmla="*/ 450 w 550"/>
                <a:gd name="T27" fmla="*/ 822 h 1116"/>
                <a:gd name="T28" fmla="*/ 450 w 550"/>
                <a:gd name="T29" fmla="*/ 872 h 1116"/>
                <a:gd name="T30" fmla="*/ 450 w 550"/>
                <a:gd name="T31" fmla="*/ 1006 h 1116"/>
                <a:gd name="T32" fmla="*/ 83 w 550"/>
                <a:gd name="T33" fmla="*/ 1006 h 1116"/>
                <a:gd name="T34" fmla="*/ 83 w 550"/>
                <a:gd name="T35" fmla="*/ 956 h 1116"/>
                <a:gd name="T36" fmla="*/ 450 w 550"/>
                <a:gd name="T37" fmla="*/ 956 h 1116"/>
                <a:gd name="T38" fmla="*/ 450 w 550"/>
                <a:gd name="T39" fmla="*/ 1006 h 1116"/>
                <a:gd name="T40" fmla="*/ 229 w 550"/>
                <a:gd name="T41" fmla="*/ 287 h 1116"/>
                <a:gd name="T42" fmla="*/ 199 w 550"/>
                <a:gd name="T43" fmla="*/ 287 h 1116"/>
                <a:gd name="T44" fmla="*/ 199 w 550"/>
                <a:gd name="T45" fmla="*/ 234 h 1116"/>
                <a:gd name="T46" fmla="*/ 227 w 550"/>
                <a:gd name="T47" fmla="*/ 234 h 1116"/>
                <a:gd name="T48" fmla="*/ 284 w 550"/>
                <a:gd name="T49" fmla="*/ 197 h 1116"/>
                <a:gd name="T50" fmla="*/ 237 w 550"/>
                <a:gd name="T51" fmla="*/ 164 h 1116"/>
                <a:gd name="T52" fmla="*/ 171 w 550"/>
                <a:gd name="T53" fmla="*/ 183 h 1116"/>
                <a:gd name="T54" fmla="*/ 156 w 550"/>
                <a:gd name="T55" fmla="*/ 129 h 1116"/>
                <a:gd name="T56" fmla="*/ 254 w 550"/>
                <a:gd name="T57" fmla="*/ 105 h 1116"/>
                <a:gd name="T58" fmla="*/ 360 w 550"/>
                <a:gd name="T59" fmla="*/ 184 h 1116"/>
                <a:gd name="T60" fmla="*/ 301 w 550"/>
                <a:gd name="T61" fmla="*/ 258 h 1116"/>
                <a:gd name="T62" fmla="*/ 301 w 550"/>
                <a:gd name="T63" fmla="*/ 259 h 1116"/>
                <a:gd name="T64" fmla="*/ 370 w 550"/>
                <a:gd name="T65" fmla="*/ 337 h 1116"/>
                <a:gd name="T66" fmla="*/ 240 w 550"/>
                <a:gd name="T67" fmla="*/ 434 h 1116"/>
                <a:gd name="T68" fmla="*/ 146 w 550"/>
                <a:gd name="T69" fmla="*/ 412 h 1116"/>
                <a:gd name="T70" fmla="*/ 161 w 550"/>
                <a:gd name="T71" fmla="*/ 356 h 1116"/>
                <a:gd name="T72" fmla="*/ 235 w 550"/>
                <a:gd name="T73" fmla="*/ 375 h 1116"/>
                <a:gd name="T74" fmla="*/ 293 w 550"/>
                <a:gd name="T75" fmla="*/ 333 h 1116"/>
                <a:gd name="T76" fmla="*/ 229 w 550"/>
                <a:gd name="T77" fmla="*/ 287 h 1116"/>
                <a:gd name="T78" fmla="*/ 0 w 550"/>
                <a:gd name="T79" fmla="*/ 0 h 1116"/>
                <a:gd name="T80" fmla="*/ 0 w 550"/>
                <a:gd name="T81" fmla="*/ 1116 h 1116"/>
                <a:gd name="T82" fmla="*/ 550 w 550"/>
                <a:gd name="T83" fmla="*/ 1116 h 1116"/>
                <a:gd name="T84" fmla="*/ 550 w 550"/>
                <a:gd name="T85" fmla="*/ 0 h 1116"/>
                <a:gd name="T86" fmla="*/ 0 w 550"/>
                <a:gd name="T87" fmla="*/ 0 h 1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50" h="1116">
                  <a:moveTo>
                    <a:pt x="450" y="639"/>
                  </a:moveTo>
                  <a:lnTo>
                    <a:pt x="83" y="639"/>
                  </a:lnTo>
                  <a:lnTo>
                    <a:pt x="83" y="589"/>
                  </a:lnTo>
                  <a:lnTo>
                    <a:pt x="450" y="589"/>
                  </a:lnTo>
                  <a:lnTo>
                    <a:pt x="450" y="639"/>
                  </a:lnTo>
                  <a:close/>
                  <a:moveTo>
                    <a:pt x="450" y="756"/>
                  </a:moveTo>
                  <a:lnTo>
                    <a:pt x="83" y="756"/>
                  </a:lnTo>
                  <a:lnTo>
                    <a:pt x="83" y="706"/>
                  </a:lnTo>
                  <a:lnTo>
                    <a:pt x="450" y="706"/>
                  </a:lnTo>
                  <a:lnTo>
                    <a:pt x="450" y="756"/>
                  </a:lnTo>
                  <a:close/>
                  <a:moveTo>
                    <a:pt x="450" y="872"/>
                  </a:moveTo>
                  <a:lnTo>
                    <a:pt x="83" y="872"/>
                  </a:lnTo>
                  <a:lnTo>
                    <a:pt x="83" y="822"/>
                  </a:lnTo>
                  <a:lnTo>
                    <a:pt x="450" y="822"/>
                  </a:lnTo>
                  <a:lnTo>
                    <a:pt x="450" y="872"/>
                  </a:lnTo>
                  <a:close/>
                  <a:moveTo>
                    <a:pt x="450" y="1006"/>
                  </a:moveTo>
                  <a:lnTo>
                    <a:pt x="83" y="1006"/>
                  </a:lnTo>
                  <a:lnTo>
                    <a:pt x="83" y="956"/>
                  </a:lnTo>
                  <a:lnTo>
                    <a:pt x="450" y="956"/>
                  </a:lnTo>
                  <a:lnTo>
                    <a:pt x="450" y="1006"/>
                  </a:lnTo>
                  <a:close/>
                  <a:moveTo>
                    <a:pt x="229" y="287"/>
                  </a:moveTo>
                  <a:lnTo>
                    <a:pt x="199" y="287"/>
                  </a:lnTo>
                  <a:lnTo>
                    <a:pt x="199" y="234"/>
                  </a:lnTo>
                  <a:lnTo>
                    <a:pt x="227" y="234"/>
                  </a:lnTo>
                  <a:cubicBezTo>
                    <a:pt x="252" y="233"/>
                    <a:pt x="284" y="224"/>
                    <a:pt x="284" y="197"/>
                  </a:cubicBezTo>
                  <a:cubicBezTo>
                    <a:pt x="284" y="178"/>
                    <a:pt x="269" y="164"/>
                    <a:pt x="237" y="164"/>
                  </a:cubicBezTo>
                  <a:cubicBezTo>
                    <a:pt x="211" y="164"/>
                    <a:pt x="184" y="175"/>
                    <a:pt x="171" y="183"/>
                  </a:cubicBezTo>
                  <a:lnTo>
                    <a:pt x="156" y="129"/>
                  </a:lnTo>
                  <a:cubicBezTo>
                    <a:pt x="175" y="117"/>
                    <a:pt x="213" y="105"/>
                    <a:pt x="254" y="105"/>
                  </a:cubicBezTo>
                  <a:cubicBezTo>
                    <a:pt x="322" y="105"/>
                    <a:pt x="360" y="141"/>
                    <a:pt x="360" y="184"/>
                  </a:cubicBezTo>
                  <a:cubicBezTo>
                    <a:pt x="360" y="218"/>
                    <a:pt x="341" y="245"/>
                    <a:pt x="301" y="258"/>
                  </a:cubicBezTo>
                  <a:lnTo>
                    <a:pt x="301" y="259"/>
                  </a:lnTo>
                  <a:cubicBezTo>
                    <a:pt x="340" y="266"/>
                    <a:pt x="370" y="295"/>
                    <a:pt x="370" y="337"/>
                  </a:cubicBezTo>
                  <a:cubicBezTo>
                    <a:pt x="370" y="393"/>
                    <a:pt x="321" y="434"/>
                    <a:pt x="240" y="434"/>
                  </a:cubicBezTo>
                  <a:cubicBezTo>
                    <a:pt x="199" y="434"/>
                    <a:pt x="164" y="423"/>
                    <a:pt x="146" y="412"/>
                  </a:cubicBezTo>
                  <a:lnTo>
                    <a:pt x="161" y="356"/>
                  </a:lnTo>
                  <a:cubicBezTo>
                    <a:pt x="174" y="363"/>
                    <a:pt x="204" y="375"/>
                    <a:pt x="235" y="375"/>
                  </a:cubicBezTo>
                  <a:cubicBezTo>
                    <a:pt x="273" y="375"/>
                    <a:pt x="293" y="357"/>
                    <a:pt x="293" y="333"/>
                  </a:cubicBezTo>
                  <a:cubicBezTo>
                    <a:pt x="293" y="301"/>
                    <a:pt x="262" y="287"/>
                    <a:pt x="229" y="287"/>
                  </a:cubicBezTo>
                  <a:close/>
                  <a:moveTo>
                    <a:pt x="0" y="0"/>
                  </a:moveTo>
                  <a:lnTo>
                    <a:pt x="0" y="1116"/>
                  </a:lnTo>
                  <a:lnTo>
                    <a:pt x="550" y="1116"/>
                  </a:lnTo>
                  <a:lnTo>
                    <a:pt x="550" y="0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123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 idx="2"/>
          </p:nvPr>
        </p:nvSpPr>
        <p:spPr/>
        <p:txBody>
          <a:bodyPr/>
          <a:lstStyle/>
          <a:p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First one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ctrTitle" idx="3"/>
          </p:nvPr>
        </p:nvSpPr>
        <p:spPr/>
        <p:txBody>
          <a:bodyPr/>
          <a:lstStyle/>
          <a:p>
            <a:r>
              <a:rPr lang="en-US" dirty="0" smtClean="0"/>
              <a:t>2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4"/>
          </p:nvPr>
        </p:nvSpPr>
        <p:spPr/>
        <p:txBody>
          <a:bodyPr/>
          <a:lstStyle/>
          <a:p>
            <a:r>
              <a:rPr lang="en-US" dirty="0" smtClean="0"/>
              <a:t>Second 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ctrTitle" idx="5"/>
          </p:nvPr>
        </p:nvSpPr>
        <p:spPr/>
        <p:txBody>
          <a:bodyPr/>
          <a:lstStyle/>
          <a:p>
            <a:r>
              <a:rPr lang="en-US" dirty="0" smtClean="0"/>
              <a:t>3</a:t>
            </a:r>
            <a:endParaRPr lang="en-US" dirty="0"/>
          </a:p>
        </p:txBody>
      </p:sp>
      <p:sp>
        <p:nvSpPr>
          <p:cNvPr id="8" name="Subtitle 7"/>
          <p:cNvSpPr>
            <a:spLocks noGrp="1"/>
          </p:cNvSpPr>
          <p:nvPr>
            <p:ph type="subTitle" idx="6"/>
          </p:nvPr>
        </p:nvSpPr>
        <p:spPr/>
        <p:txBody>
          <a:bodyPr/>
          <a:lstStyle/>
          <a:p>
            <a:r>
              <a:rPr lang="en-US" dirty="0" smtClean="0"/>
              <a:t>Third on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" smtClean="0"/>
              <a:pPr/>
              <a:t>11</a:t>
            </a:fld>
            <a:endParaRPr lang="es"/>
          </a:p>
        </p:txBody>
      </p:sp>
    </p:spTree>
    <p:extLst>
      <p:ext uri="{BB962C8B-B14F-4D97-AF65-F5344CB8AC3E}">
        <p14:creationId xmlns:p14="http://schemas.microsoft.com/office/powerpoint/2010/main" val="4203754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44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2400" dirty="0"/>
              <a:t>Infographics </a:t>
            </a:r>
            <a:r>
              <a:rPr lang="es" sz="2400" dirty="0" smtClean="0"/>
              <a:t>…</a:t>
            </a:r>
            <a:endParaRPr sz="2400" dirty="0"/>
          </a:p>
        </p:txBody>
      </p:sp>
      <p:sp>
        <p:nvSpPr>
          <p:cNvPr id="311" name="Google Shape;311;p44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2</a:t>
            </a:fld>
            <a:endParaRPr/>
          </a:p>
        </p:txBody>
      </p:sp>
      <p:sp>
        <p:nvSpPr>
          <p:cNvPr id="312" name="Google Shape;312;p44"/>
          <p:cNvSpPr txBox="1"/>
          <p:nvPr/>
        </p:nvSpPr>
        <p:spPr>
          <a:xfrm>
            <a:off x="998300" y="2705600"/>
            <a:ext cx="2073600" cy="70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s" sz="1000" b="1">
                <a:solidFill>
                  <a:schemeClr val="dk2"/>
                </a:solidFill>
                <a:latin typeface="Ubuntu"/>
                <a:ea typeface="Ubuntu"/>
                <a:cs typeface="Ubuntu"/>
                <a:sym typeface="Ubuntu"/>
              </a:rPr>
              <a:t>JUPITER</a:t>
            </a:r>
            <a:endParaRPr sz="1000" b="1">
              <a:solidFill>
                <a:schemeClr val="dk2"/>
              </a:solidFill>
              <a:latin typeface="Ubuntu"/>
              <a:ea typeface="Ubuntu"/>
              <a:cs typeface="Ubuntu"/>
              <a:sym typeface="Ubuntu"/>
            </a:endParaRP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s" sz="10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rPr>
              <a:t>It’s a gas giant and the biggest planet in our Solar System</a:t>
            </a:r>
            <a:endParaRPr sz="1000">
              <a:solidFill>
                <a:schemeClr val="lt2"/>
              </a:solidFill>
              <a:latin typeface="Ubuntu Light"/>
              <a:ea typeface="Ubuntu Light"/>
              <a:cs typeface="Ubuntu Light"/>
              <a:sym typeface="Ubuntu Light"/>
            </a:endParaRP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000">
              <a:solidFill>
                <a:schemeClr val="lt2"/>
              </a:solidFill>
              <a:latin typeface="Ubuntu Light"/>
              <a:ea typeface="Ubuntu Light"/>
              <a:cs typeface="Ubuntu Light"/>
              <a:sym typeface="Ubuntu Light"/>
            </a:endParaRPr>
          </a:p>
        </p:txBody>
      </p:sp>
      <p:sp>
        <p:nvSpPr>
          <p:cNvPr id="313" name="Google Shape;313;p44"/>
          <p:cNvSpPr txBox="1"/>
          <p:nvPr/>
        </p:nvSpPr>
        <p:spPr>
          <a:xfrm>
            <a:off x="5524450" y="1951825"/>
            <a:ext cx="1748100" cy="7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s" sz="1000" b="1">
                <a:solidFill>
                  <a:schemeClr val="dk2"/>
                </a:solidFill>
                <a:latin typeface="Ubuntu"/>
                <a:ea typeface="Ubuntu"/>
                <a:cs typeface="Ubuntu"/>
                <a:sym typeface="Ubuntu"/>
              </a:rPr>
              <a:t>MARS</a:t>
            </a:r>
            <a:endParaRPr sz="1000" b="1">
              <a:solidFill>
                <a:schemeClr val="dk2"/>
              </a:solidFill>
              <a:latin typeface="Ubuntu"/>
              <a:ea typeface="Ubuntu"/>
              <a:cs typeface="Ubuntu"/>
              <a:sym typeface="Ubuntu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s" sz="10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rPr>
              <a:t>Despite being red, Mars is a cold place, not hot</a:t>
            </a:r>
            <a:endParaRPr sz="1000">
              <a:solidFill>
                <a:schemeClr val="lt2"/>
              </a:solidFill>
              <a:latin typeface="Ubuntu Light"/>
              <a:ea typeface="Ubuntu Light"/>
              <a:cs typeface="Ubuntu Light"/>
              <a:sym typeface="Ubuntu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000">
              <a:solidFill>
                <a:schemeClr val="lt2"/>
              </a:solidFill>
              <a:latin typeface="Ubuntu Light"/>
              <a:ea typeface="Ubuntu Light"/>
              <a:cs typeface="Ubuntu Light"/>
              <a:sym typeface="Ubuntu Light"/>
            </a:endParaRPr>
          </a:p>
        </p:txBody>
      </p:sp>
      <p:sp>
        <p:nvSpPr>
          <p:cNvPr id="314" name="Google Shape;314;p44"/>
          <p:cNvSpPr txBox="1"/>
          <p:nvPr/>
        </p:nvSpPr>
        <p:spPr>
          <a:xfrm>
            <a:off x="5524450" y="3227275"/>
            <a:ext cx="1839300" cy="102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s" sz="1000" b="1">
                <a:solidFill>
                  <a:schemeClr val="dk2"/>
                </a:solidFill>
                <a:latin typeface="Ubuntu"/>
                <a:ea typeface="Ubuntu"/>
                <a:cs typeface="Ubuntu"/>
                <a:sym typeface="Ubuntu"/>
              </a:rPr>
              <a:t>VENUS</a:t>
            </a:r>
            <a:endParaRPr sz="1000" b="1">
              <a:solidFill>
                <a:schemeClr val="dk2"/>
              </a:solidFill>
              <a:latin typeface="Ubuntu"/>
              <a:ea typeface="Ubuntu"/>
              <a:cs typeface="Ubuntu"/>
              <a:sym typeface="Ubuntu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s" sz="10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rPr>
              <a:t>Venus has a beautiful name, but it’s terribly hot</a:t>
            </a:r>
            <a:endParaRPr sz="1000">
              <a:solidFill>
                <a:schemeClr val="lt2"/>
              </a:solidFill>
              <a:latin typeface="Ubuntu Light"/>
              <a:ea typeface="Ubuntu Light"/>
              <a:cs typeface="Ubuntu Light"/>
              <a:sym typeface="Ubuntu Light"/>
            </a:endParaRPr>
          </a:p>
        </p:txBody>
      </p:sp>
      <p:grpSp>
        <p:nvGrpSpPr>
          <p:cNvPr id="315" name="Google Shape;315;p44"/>
          <p:cNvGrpSpPr/>
          <p:nvPr/>
        </p:nvGrpSpPr>
        <p:grpSpPr>
          <a:xfrm>
            <a:off x="4132675" y="1951813"/>
            <a:ext cx="1356907" cy="1023304"/>
            <a:chOff x="4132675" y="1951813"/>
            <a:chExt cx="1356907" cy="1023304"/>
          </a:xfrm>
        </p:grpSpPr>
        <p:sp>
          <p:nvSpPr>
            <p:cNvPr id="316" name="Google Shape;316;p44"/>
            <p:cNvSpPr/>
            <p:nvPr/>
          </p:nvSpPr>
          <p:spPr>
            <a:xfrm>
              <a:off x="4188008" y="1952264"/>
              <a:ext cx="1243078" cy="1022852"/>
            </a:xfrm>
            <a:custGeom>
              <a:avLst/>
              <a:gdLst/>
              <a:ahLst/>
              <a:cxnLst/>
              <a:rect l="l" t="t" r="r" b="b"/>
              <a:pathLst>
                <a:path w="5504" h="4529" extrusionOk="0">
                  <a:moveTo>
                    <a:pt x="2759" y="1"/>
                  </a:moveTo>
                  <a:cubicBezTo>
                    <a:pt x="2058" y="1"/>
                    <a:pt x="1356" y="154"/>
                    <a:pt x="822" y="460"/>
                  </a:cubicBezTo>
                  <a:cubicBezTo>
                    <a:pt x="267" y="778"/>
                    <a:pt x="0" y="1203"/>
                    <a:pt x="22" y="1622"/>
                  </a:cubicBezTo>
                  <a:lnTo>
                    <a:pt x="22" y="2285"/>
                  </a:lnTo>
                  <a:cubicBezTo>
                    <a:pt x="22" y="2696"/>
                    <a:pt x="289" y="3100"/>
                    <a:pt x="822" y="3410"/>
                  </a:cubicBezTo>
                  <a:lnTo>
                    <a:pt x="2763" y="4528"/>
                  </a:lnTo>
                  <a:lnTo>
                    <a:pt x="4696" y="3410"/>
                  </a:lnTo>
                  <a:cubicBezTo>
                    <a:pt x="5236" y="3100"/>
                    <a:pt x="5503" y="2689"/>
                    <a:pt x="5496" y="2285"/>
                  </a:cubicBezTo>
                  <a:lnTo>
                    <a:pt x="5496" y="1578"/>
                  </a:lnTo>
                  <a:cubicBezTo>
                    <a:pt x="5496" y="1175"/>
                    <a:pt x="5229" y="771"/>
                    <a:pt x="4696" y="460"/>
                  </a:cubicBezTo>
                  <a:cubicBezTo>
                    <a:pt x="4162" y="154"/>
                    <a:pt x="3460" y="1"/>
                    <a:pt x="275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" name="Google Shape;317;p44"/>
            <p:cNvSpPr/>
            <p:nvPr/>
          </p:nvSpPr>
          <p:spPr>
            <a:xfrm>
              <a:off x="4811806" y="1951813"/>
              <a:ext cx="619281" cy="1023304"/>
            </a:xfrm>
            <a:custGeom>
              <a:avLst/>
              <a:gdLst/>
              <a:ahLst/>
              <a:cxnLst/>
              <a:rect l="l" t="t" r="r" b="b"/>
              <a:pathLst>
                <a:path w="2742" h="4531" extrusionOk="0">
                  <a:moveTo>
                    <a:pt x="1" y="1"/>
                  </a:moveTo>
                  <a:lnTo>
                    <a:pt x="1" y="4530"/>
                  </a:lnTo>
                  <a:lnTo>
                    <a:pt x="1934" y="3412"/>
                  </a:lnTo>
                  <a:cubicBezTo>
                    <a:pt x="2467" y="3102"/>
                    <a:pt x="2741" y="2698"/>
                    <a:pt x="2734" y="2287"/>
                  </a:cubicBezTo>
                  <a:lnTo>
                    <a:pt x="2734" y="1580"/>
                  </a:lnTo>
                  <a:cubicBezTo>
                    <a:pt x="2734" y="1177"/>
                    <a:pt x="2467" y="773"/>
                    <a:pt x="1934" y="462"/>
                  </a:cubicBezTo>
                  <a:cubicBezTo>
                    <a:pt x="1400" y="160"/>
                    <a:pt x="700" y="1"/>
                    <a:pt x="1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" name="Google Shape;318;p44"/>
            <p:cNvSpPr/>
            <p:nvPr/>
          </p:nvSpPr>
          <p:spPr>
            <a:xfrm>
              <a:off x="4132675" y="1952264"/>
              <a:ext cx="1356907" cy="861599"/>
            </a:xfrm>
            <a:custGeom>
              <a:avLst/>
              <a:gdLst/>
              <a:ahLst/>
              <a:cxnLst/>
              <a:rect l="l" t="t" r="r" b="b"/>
              <a:pathLst>
                <a:path w="6008" h="3815" extrusionOk="0">
                  <a:moveTo>
                    <a:pt x="3004" y="1"/>
                  </a:moveTo>
                  <a:cubicBezTo>
                    <a:pt x="2303" y="1"/>
                    <a:pt x="1601" y="154"/>
                    <a:pt x="1067" y="460"/>
                  </a:cubicBezTo>
                  <a:cubicBezTo>
                    <a:pt x="0" y="1081"/>
                    <a:pt x="0" y="2083"/>
                    <a:pt x="1067" y="2696"/>
                  </a:cubicBezTo>
                  <a:lnTo>
                    <a:pt x="3008" y="3814"/>
                  </a:lnTo>
                  <a:lnTo>
                    <a:pt x="4941" y="2696"/>
                  </a:lnTo>
                  <a:cubicBezTo>
                    <a:pt x="6008" y="2083"/>
                    <a:pt x="6008" y="1081"/>
                    <a:pt x="4941" y="460"/>
                  </a:cubicBezTo>
                  <a:cubicBezTo>
                    <a:pt x="4407" y="154"/>
                    <a:pt x="3705" y="1"/>
                    <a:pt x="30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" name="Google Shape;319;p44"/>
            <p:cNvSpPr/>
            <p:nvPr/>
          </p:nvSpPr>
          <p:spPr>
            <a:xfrm>
              <a:off x="4435539" y="2092062"/>
              <a:ext cx="751177" cy="433397"/>
            </a:xfrm>
            <a:custGeom>
              <a:avLst/>
              <a:gdLst/>
              <a:ahLst/>
              <a:cxnLst/>
              <a:rect l="l" t="t" r="r" b="b"/>
              <a:pathLst>
                <a:path w="3326" h="1919" extrusionOk="0">
                  <a:moveTo>
                    <a:pt x="1667" y="0"/>
                  </a:moveTo>
                  <a:cubicBezTo>
                    <a:pt x="743" y="0"/>
                    <a:pt x="1" y="433"/>
                    <a:pt x="1" y="959"/>
                  </a:cubicBezTo>
                  <a:cubicBezTo>
                    <a:pt x="1" y="1493"/>
                    <a:pt x="743" y="1919"/>
                    <a:pt x="1667" y="1919"/>
                  </a:cubicBezTo>
                  <a:cubicBezTo>
                    <a:pt x="2583" y="1919"/>
                    <a:pt x="3325" y="1493"/>
                    <a:pt x="3325" y="959"/>
                  </a:cubicBezTo>
                  <a:cubicBezTo>
                    <a:pt x="3325" y="433"/>
                    <a:pt x="2583" y="0"/>
                    <a:pt x="166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" name="Google Shape;320;p44"/>
            <p:cNvSpPr/>
            <p:nvPr/>
          </p:nvSpPr>
          <p:spPr>
            <a:xfrm>
              <a:off x="4422440" y="2092062"/>
              <a:ext cx="777376" cy="246171"/>
            </a:xfrm>
            <a:custGeom>
              <a:avLst/>
              <a:gdLst/>
              <a:ahLst/>
              <a:cxnLst/>
              <a:rect l="l" t="t" r="r" b="b"/>
              <a:pathLst>
                <a:path w="3442" h="1090" extrusionOk="0">
                  <a:moveTo>
                    <a:pt x="1721" y="0"/>
                  </a:moveTo>
                  <a:cubicBezTo>
                    <a:pt x="1294" y="0"/>
                    <a:pt x="866" y="94"/>
                    <a:pt x="542" y="281"/>
                  </a:cubicBezTo>
                  <a:cubicBezTo>
                    <a:pt x="159" y="505"/>
                    <a:pt x="1" y="808"/>
                    <a:pt x="73" y="1089"/>
                  </a:cubicBezTo>
                  <a:cubicBezTo>
                    <a:pt x="123" y="894"/>
                    <a:pt x="282" y="707"/>
                    <a:pt x="542" y="548"/>
                  </a:cubicBezTo>
                  <a:cubicBezTo>
                    <a:pt x="866" y="361"/>
                    <a:pt x="1294" y="267"/>
                    <a:pt x="1721" y="267"/>
                  </a:cubicBezTo>
                  <a:cubicBezTo>
                    <a:pt x="2148" y="267"/>
                    <a:pt x="2576" y="361"/>
                    <a:pt x="2900" y="548"/>
                  </a:cubicBezTo>
                  <a:cubicBezTo>
                    <a:pt x="3160" y="707"/>
                    <a:pt x="3319" y="894"/>
                    <a:pt x="3369" y="1089"/>
                  </a:cubicBezTo>
                  <a:cubicBezTo>
                    <a:pt x="3441" y="801"/>
                    <a:pt x="3282" y="498"/>
                    <a:pt x="2900" y="281"/>
                  </a:cubicBezTo>
                  <a:cubicBezTo>
                    <a:pt x="2576" y="94"/>
                    <a:pt x="2148" y="0"/>
                    <a:pt x="172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21" name="Google Shape;321;p44"/>
          <p:cNvGrpSpPr/>
          <p:nvPr/>
        </p:nvGrpSpPr>
        <p:grpSpPr>
          <a:xfrm>
            <a:off x="3098282" y="2621217"/>
            <a:ext cx="1554074" cy="875827"/>
            <a:chOff x="3098282" y="2621217"/>
            <a:chExt cx="1554074" cy="875827"/>
          </a:xfrm>
        </p:grpSpPr>
        <p:sp>
          <p:nvSpPr>
            <p:cNvPr id="322" name="Google Shape;322;p44"/>
            <p:cNvSpPr/>
            <p:nvPr/>
          </p:nvSpPr>
          <p:spPr>
            <a:xfrm>
              <a:off x="3158584" y="2621895"/>
              <a:ext cx="1493772" cy="875149"/>
            </a:xfrm>
            <a:custGeom>
              <a:avLst/>
              <a:gdLst/>
              <a:ahLst/>
              <a:cxnLst/>
              <a:rect l="l" t="t" r="r" b="b"/>
              <a:pathLst>
                <a:path w="6614" h="3875" extrusionOk="0">
                  <a:moveTo>
                    <a:pt x="2740" y="0"/>
                  </a:moveTo>
                  <a:cubicBezTo>
                    <a:pt x="2039" y="0"/>
                    <a:pt x="1338" y="153"/>
                    <a:pt x="801" y="460"/>
                  </a:cubicBezTo>
                  <a:cubicBezTo>
                    <a:pt x="274" y="770"/>
                    <a:pt x="0" y="1174"/>
                    <a:pt x="0" y="1578"/>
                  </a:cubicBezTo>
                  <a:lnTo>
                    <a:pt x="0" y="2292"/>
                  </a:lnTo>
                  <a:cubicBezTo>
                    <a:pt x="0" y="2696"/>
                    <a:pt x="274" y="3107"/>
                    <a:pt x="801" y="3410"/>
                  </a:cubicBezTo>
                  <a:cubicBezTo>
                    <a:pt x="1338" y="3720"/>
                    <a:pt x="2039" y="3875"/>
                    <a:pt x="2741" y="3875"/>
                  </a:cubicBezTo>
                  <a:cubicBezTo>
                    <a:pt x="3442" y="3875"/>
                    <a:pt x="4144" y="3720"/>
                    <a:pt x="4681" y="3410"/>
                  </a:cubicBezTo>
                  <a:lnTo>
                    <a:pt x="6614" y="2292"/>
                  </a:lnTo>
                  <a:lnTo>
                    <a:pt x="6614" y="1578"/>
                  </a:lnTo>
                  <a:lnTo>
                    <a:pt x="4674" y="460"/>
                  </a:lnTo>
                  <a:cubicBezTo>
                    <a:pt x="4140" y="153"/>
                    <a:pt x="3440" y="0"/>
                    <a:pt x="274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" name="Google Shape;323;p44"/>
            <p:cNvSpPr/>
            <p:nvPr/>
          </p:nvSpPr>
          <p:spPr>
            <a:xfrm>
              <a:off x="3098282" y="2621217"/>
              <a:ext cx="1554074" cy="714574"/>
            </a:xfrm>
            <a:custGeom>
              <a:avLst/>
              <a:gdLst/>
              <a:ahLst/>
              <a:cxnLst/>
              <a:rect l="l" t="t" r="r" b="b"/>
              <a:pathLst>
                <a:path w="6881" h="3164" extrusionOk="0">
                  <a:moveTo>
                    <a:pt x="3014" y="0"/>
                  </a:moveTo>
                  <a:cubicBezTo>
                    <a:pt x="2310" y="0"/>
                    <a:pt x="1606" y="155"/>
                    <a:pt x="1068" y="463"/>
                  </a:cubicBezTo>
                  <a:cubicBezTo>
                    <a:pt x="0" y="1076"/>
                    <a:pt x="0" y="2078"/>
                    <a:pt x="1068" y="2699"/>
                  </a:cubicBezTo>
                  <a:cubicBezTo>
                    <a:pt x="1605" y="3009"/>
                    <a:pt x="2306" y="3164"/>
                    <a:pt x="3007" y="3164"/>
                  </a:cubicBezTo>
                  <a:cubicBezTo>
                    <a:pt x="3707" y="3164"/>
                    <a:pt x="4407" y="3009"/>
                    <a:pt x="4941" y="2699"/>
                  </a:cubicBezTo>
                  <a:lnTo>
                    <a:pt x="6881" y="1581"/>
                  </a:lnTo>
                  <a:lnTo>
                    <a:pt x="4948" y="463"/>
                  </a:lnTo>
                  <a:cubicBezTo>
                    <a:pt x="4412" y="154"/>
                    <a:pt x="3713" y="0"/>
                    <a:pt x="301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" name="Google Shape;324;p44"/>
            <p:cNvSpPr/>
            <p:nvPr/>
          </p:nvSpPr>
          <p:spPr>
            <a:xfrm>
              <a:off x="3401146" y="2761467"/>
              <a:ext cx="751177" cy="435203"/>
            </a:xfrm>
            <a:custGeom>
              <a:avLst/>
              <a:gdLst/>
              <a:ahLst/>
              <a:cxnLst/>
              <a:rect l="l" t="t" r="r" b="b"/>
              <a:pathLst>
                <a:path w="3326" h="1927" extrusionOk="0">
                  <a:moveTo>
                    <a:pt x="1667" y="0"/>
                  </a:moveTo>
                  <a:cubicBezTo>
                    <a:pt x="744" y="0"/>
                    <a:pt x="1" y="433"/>
                    <a:pt x="1" y="960"/>
                  </a:cubicBezTo>
                  <a:cubicBezTo>
                    <a:pt x="1" y="1493"/>
                    <a:pt x="744" y="1926"/>
                    <a:pt x="1667" y="1926"/>
                  </a:cubicBezTo>
                  <a:cubicBezTo>
                    <a:pt x="2583" y="1926"/>
                    <a:pt x="3326" y="1493"/>
                    <a:pt x="3326" y="960"/>
                  </a:cubicBezTo>
                  <a:cubicBezTo>
                    <a:pt x="3326" y="433"/>
                    <a:pt x="2583" y="0"/>
                    <a:pt x="166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" name="Google Shape;325;p44"/>
            <p:cNvSpPr/>
            <p:nvPr/>
          </p:nvSpPr>
          <p:spPr>
            <a:xfrm>
              <a:off x="3389854" y="2761467"/>
              <a:ext cx="775569" cy="247752"/>
            </a:xfrm>
            <a:custGeom>
              <a:avLst/>
              <a:gdLst/>
              <a:ahLst/>
              <a:cxnLst/>
              <a:rect l="l" t="t" r="r" b="b"/>
              <a:pathLst>
                <a:path w="3434" h="1097" extrusionOk="0">
                  <a:moveTo>
                    <a:pt x="1717" y="0"/>
                  </a:moveTo>
                  <a:cubicBezTo>
                    <a:pt x="1291" y="0"/>
                    <a:pt x="866" y="94"/>
                    <a:pt x="541" y="282"/>
                  </a:cubicBezTo>
                  <a:cubicBezTo>
                    <a:pt x="152" y="505"/>
                    <a:pt x="0" y="808"/>
                    <a:pt x="72" y="1097"/>
                  </a:cubicBezTo>
                  <a:cubicBezTo>
                    <a:pt x="116" y="895"/>
                    <a:pt x="274" y="707"/>
                    <a:pt x="541" y="556"/>
                  </a:cubicBezTo>
                  <a:cubicBezTo>
                    <a:pt x="866" y="368"/>
                    <a:pt x="1291" y="275"/>
                    <a:pt x="1717" y="275"/>
                  </a:cubicBezTo>
                  <a:cubicBezTo>
                    <a:pt x="2142" y="275"/>
                    <a:pt x="2568" y="368"/>
                    <a:pt x="2892" y="556"/>
                  </a:cubicBezTo>
                  <a:cubicBezTo>
                    <a:pt x="3159" y="707"/>
                    <a:pt x="3311" y="895"/>
                    <a:pt x="3361" y="1097"/>
                  </a:cubicBezTo>
                  <a:cubicBezTo>
                    <a:pt x="3433" y="808"/>
                    <a:pt x="3275" y="498"/>
                    <a:pt x="2892" y="282"/>
                  </a:cubicBezTo>
                  <a:cubicBezTo>
                    <a:pt x="2568" y="94"/>
                    <a:pt x="2142" y="0"/>
                    <a:pt x="171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26" name="Google Shape;326;p44"/>
          <p:cNvGrpSpPr/>
          <p:nvPr/>
        </p:nvGrpSpPr>
        <p:grpSpPr>
          <a:xfrm>
            <a:off x="4126125" y="3140886"/>
            <a:ext cx="1360295" cy="1022852"/>
            <a:chOff x="4126125" y="3140886"/>
            <a:chExt cx="1360295" cy="1022852"/>
          </a:xfrm>
        </p:grpSpPr>
        <p:sp>
          <p:nvSpPr>
            <p:cNvPr id="327" name="Google Shape;327;p44"/>
            <p:cNvSpPr/>
            <p:nvPr/>
          </p:nvSpPr>
          <p:spPr>
            <a:xfrm>
              <a:off x="4186427" y="3140886"/>
              <a:ext cx="1238110" cy="1022852"/>
            </a:xfrm>
            <a:custGeom>
              <a:avLst/>
              <a:gdLst/>
              <a:ahLst/>
              <a:cxnLst/>
              <a:rect l="l" t="t" r="r" b="b"/>
              <a:pathLst>
                <a:path w="5482" h="4529" extrusionOk="0">
                  <a:moveTo>
                    <a:pt x="2741" y="1"/>
                  </a:moveTo>
                  <a:lnTo>
                    <a:pt x="808" y="1119"/>
                  </a:lnTo>
                  <a:cubicBezTo>
                    <a:pt x="267" y="1429"/>
                    <a:pt x="0" y="1833"/>
                    <a:pt x="0" y="2237"/>
                  </a:cubicBezTo>
                  <a:lnTo>
                    <a:pt x="0" y="2951"/>
                  </a:lnTo>
                  <a:cubicBezTo>
                    <a:pt x="0" y="3355"/>
                    <a:pt x="274" y="3759"/>
                    <a:pt x="808" y="4069"/>
                  </a:cubicBezTo>
                  <a:cubicBezTo>
                    <a:pt x="1342" y="4375"/>
                    <a:pt x="2041" y="4529"/>
                    <a:pt x="2742" y="4529"/>
                  </a:cubicBezTo>
                  <a:cubicBezTo>
                    <a:pt x="3442" y="4529"/>
                    <a:pt x="4144" y="4375"/>
                    <a:pt x="4681" y="4069"/>
                  </a:cubicBezTo>
                  <a:cubicBezTo>
                    <a:pt x="5215" y="3759"/>
                    <a:pt x="5481" y="3355"/>
                    <a:pt x="5481" y="2951"/>
                  </a:cubicBezTo>
                  <a:lnTo>
                    <a:pt x="5481" y="2165"/>
                  </a:lnTo>
                  <a:lnTo>
                    <a:pt x="5474" y="2165"/>
                  </a:lnTo>
                  <a:cubicBezTo>
                    <a:pt x="5445" y="1782"/>
                    <a:pt x="5179" y="1407"/>
                    <a:pt x="4681" y="1119"/>
                  </a:cubicBezTo>
                  <a:lnTo>
                    <a:pt x="2741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" name="Google Shape;328;p44"/>
            <p:cNvSpPr/>
            <p:nvPr/>
          </p:nvSpPr>
          <p:spPr>
            <a:xfrm>
              <a:off x="4126125" y="3140886"/>
              <a:ext cx="1360295" cy="861599"/>
            </a:xfrm>
            <a:custGeom>
              <a:avLst/>
              <a:gdLst/>
              <a:ahLst/>
              <a:cxnLst/>
              <a:rect l="l" t="t" r="r" b="b"/>
              <a:pathLst>
                <a:path w="6023" h="3815" extrusionOk="0">
                  <a:moveTo>
                    <a:pt x="3015" y="1"/>
                  </a:moveTo>
                  <a:lnTo>
                    <a:pt x="1075" y="1119"/>
                  </a:lnTo>
                  <a:cubicBezTo>
                    <a:pt x="0" y="1732"/>
                    <a:pt x="0" y="2734"/>
                    <a:pt x="1075" y="3355"/>
                  </a:cubicBezTo>
                  <a:cubicBezTo>
                    <a:pt x="1609" y="3661"/>
                    <a:pt x="2308" y="3815"/>
                    <a:pt x="3009" y="3815"/>
                  </a:cubicBezTo>
                  <a:cubicBezTo>
                    <a:pt x="3709" y="3815"/>
                    <a:pt x="4411" y="3661"/>
                    <a:pt x="4948" y="3355"/>
                  </a:cubicBezTo>
                  <a:cubicBezTo>
                    <a:pt x="6023" y="2734"/>
                    <a:pt x="6015" y="1732"/>
                    <a:pt x="4948" y="1119"/>
                  </a:cubicBezTo>
                  <a:lnTo>
                    <a:pt x="301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" name="Google Shape;329;p44"/>
            <p:cNvSpPr/>
            <p:nvPr/>
          </p:nvSpPr>
          <p:spPr>
            <a:xfrm>
              <a:off x="4393306" y="3427710"/>
              <a:ext cx="824353" cy="435203"/>
            </a:xfrm>
            <a:custGeom>
              <a:avLst/>
              <a:gdLst/>
              <a:ahLst/>
              <a:cxnLst/>
              <a:rect l="l" t="t" r="r" b="b"/>
              <a:pathLst>
                <a:path w="3650" h="1927" extrusionOk="0">
                  <a:moveTo>
                    <a:pt x="1825" y="0"/>
                  </a:moveTo>
                  <a:cubicBezTo>
                    <a:pt x="1399" y="0"/>
                    <a:pt x="974" y="94"/>
                    <a:pt x="649" y="282"/>
                  </a:cubicBezTo>
                  <a:cubicBezTo>
                    <a:pt x="0" y="664"/>
                    <a:pt x="0" y="1270"/>
                    <a:pt x="649" y="1645"/>
                  </a:cubicBezTo>
                  <a:cubicBezTo>
                    <a:pt x="974" y="1832"/>
                    <a:pt x="1399" y="1926"/>
                    <a:pt x="1825" y="1926"/>
                  </a:cubicBezTo>
                  <a:cubicBezTo>
                    <a:pt x="2250" y="1926"/>
                    <a:pt x="2676" y="1832"/>
                    <a:pt x="3000" y="1645"/>
                  </a:cubicBezTo>
                  <a:cubicBezTo>
                    <a:pt x="3649" y="1270"/>
                    <a:pt x="3649" y="657"/>
                    <a:pt x="3000" y="282"/>
                  </a:cubicBezTo>
                  <a:cubicBezTo>
                    <a:pt x="2676" y="94"/>
                    <a:pt x="2250" y="0"/>
                    <a:pt x="182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" name="Google Shape;330;p44"/>
            <p:cNvSpPr/>
            <p:nvPr/>
          </p:nvSpPr>
          <p:spPr>
            <a:xfrm>
              <a:off x="4417697" y="3427710"/>
              <a:ext cx="775569" cy="247752"/>
            </a:xfrm>
            <a:custGeom>
              <a:avLst/>
              <a:gdLst/>
              <a:ahLst/>
              <a:cxnLst/>
              <a:rect l="l" t="t" r="r" b="b"/>
              <a:pathLst>
                <a:path w="3434" h="1097" extrusionOk="0">
                  <a:moveTo>
                    <a:pt x="1717" y="0"/>
                  </a:moveTo>
                  <a:cubicBezTo>
                    <a:pt x="1291" y="0"/>
                    <a:pt x="866" y="94"/>
                    <a:pt x="541" y="282"/>
                  </a:cubicBezTo>
                  <a:cubicBezTo>
                    <a:pt x="159" y="505"/>
                    <a:pt x="0" y="808"/>
                    <a:pt x="72" y="1097"/>
                  </a:cubicBezTo>
                  <a:cubicBezTo>
                    <a:pt x="123" y="902"/>
                    <a:pt x="274" y="707"/>
                    <a:pt x="541" y="556"/>
                  </a:cubicBezTo>
                  <a:cubicBezTo>
                    <a:pt x="866" y="368"/>
                    <a:pt x="1291" y="274"/>
                    <a:pt x="1717" y="274"/>
                  </a:cubicBezTo>
                  <a:cubicBezTo>
                    <a:pt x="2142" y="274"/>
                    <a:pt x="2568" y="368"/>
                    <a:pt x="2892" y="556"/>
                  </a:cubicBezTo>
                  <a:cubicBezTo>
                    <a:pt x="3159" y="707"/>
                    <a:pt x="3318" y="902"/>
                    <a:pt x="3361" y="1097"/>
                  </a:cubicBezTo>
                  <a:cubicBezTo>
                    <a:pt x="3433" y="808"/>
                    <a:pt x="3282" y="505"/>
                    <a:pt x="2892" y="282"/>
                  </a:cubicBezTo>
                  <a:cubicBezTo>
                    <a:pt x="2568" y="94"/>
                    <a:pt x="2142" y="0"/>
                    <a:pt x="171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3" name="Analytics13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639122" y="587100"/>
            <a:ext cx="662915" cy="542925"/>
            <a:chOff x="7169151" y="725488"/>
            <a:chExt cx="885825" cy="725488"/>
          </a:xfrm>
          <a:solidFill>
            <a:schemeClr val="accent1"/>
          </a:solidFill>
        </p:grpSpPr>
        <p:sp>
          <p:nvSpPr>
            <p:cNvPr id="24" name="Freeform 324"/>
            <p:cNvSpPr>
              <a:spLocks noEditPoints="1"/>
            </p:cNvSpPr>
            <p:nvPr/>
          </p:nvSpPr>
          <p:spPr bwMode="auto">
            <a:xfrm>
              <a:off x="7697788" y="901701"/>
              <a:ext cx="127000" cy="128588"/>
            </a:xfrm>
            <a:custGeom>
              <a:avLst/>
              <a:gdLst>
                <a:gd name="T0" fmla="*/ 41 w 82"/>
                <a:gd name="T1" fmla="*/ 29 h 82"/>
                <a:gd name="T2" fmla="*/ 29 w 82"/>
                <a:gd name="T3" fmla="*/ 41 h 82"/>
                <a:gd name="T4" fmla="*/ 41 w 82"/>
                <a:gd name="T5" fmla="*/ 53 h 82"/>
                <a:gd name="T6" fmla="*/ 53 w 82"/>
                <a:gd name="T7" fmla="*/ 41 h 82"/>
                <a:gd name="T8" fmla="*/ 41 w 82"/>
                <a:gd name="T9" fmla="*/ 29 h 82"/>
                <a:gd name="T10" fmla="*/ 41 w 82"/>
                <a:gd name="T11" fmla="*/ 82 h 82"/>
                <a:gd name="T12" fmla="*/ 0 w 82"/>
                <a:gd name="T13" fmla="*/ 41 h 82"/>
                <a:gd name="T14" fmla="*/ 41 w 82"/>
                <a:gd name="T15" fmla="*/ 0 h 82"/>
                <a:gd name="T16" fmla="*/ 82 w 82"/>
                <a:gd name="T17" fmla="*/ 41 h 82"/>
                <a:gd name="T18" fmla="*/ 41 w 82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41" y="29"/>
                  </a:moveTo>
                  <a:cubicBezTo>
                    <a:pt x="34" y="29"/>
                    <a:pt x="29" y="35"/>
                    <a:pt x="29" y="41"/>
                  </a:cubicBezTo>
                  <a:cubicBezTo>
                    <a:pt x="29" y="48"/>
                    <a:pt x="34" y="53"/>
                    <a:pt x="41" y="53"/>
                  </a:cubicBezTo>
                  <a:cubicBezTo>
                    <a:pt x="48" y="53"/>
                    <a:pt x="53" y="48"/>
                    <a:pt x="53" y="41"/>
                  </a:cubicBezTo>
                  <a:cubicBezTo>
                    <a:pt x="53" y="35"/>
                    <a:pt x="48" y="29"/>
                    <a:pt x="41" y="29"/>
                  </a:cubicBezTo>
                  <a:close/>
                  <a:moveTo>
                    <a:pt x="41" y="82"/>
                  </a:moveTo>
                  <a:cubicBezTo>
                    <a:pt x="19" y="82"/>
                    <a:pt x="0" y="64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64"/>
                    <a:pt x="64" y="82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325"/>
            <p:cNvSpPr>
              <a:spLocks/>
            </p:cNvSpPr>
            <p:nvPr/>
          </p:nvSpPr>
          <p:spPr bwMode="auto">
            <a:xfrm>
              <a:off x="7953376" y="725488"/>
              <a:ext cx="101600" cy="98425"/>
            </a:xfrm>
            <a:custGeom>
              <a:avLst/>
              <a:gdLst>
                <a:gd name="T0" fmla="*/ 55 w 65"/>
                <a:gd name="T1" fmla="*/ 57 h 63"/>
                <a:gd name="T2" fmla="*/ 64 w 65"/>
                <a:gd name="T3" fmla="*/ 6 h 63"/>
                <a:gd name="T4" fmla="*/ 58 w 65"/>
                <a:gd name="T5" fmla="*/ 0 h 63"/>
                <a:gd name="T6" fmla="*/ 7 w 65"/>
                <a:gd name="T7" fmla="*/ 1 h 63"/>
                <a:gd name="T8" fmla="*/ 3 w 65"/>
                <a:gd name="T9" fmla="*/ 10 h 63"/>
                <a:gd name="T10" fmla="*/ 45 w 65"/>
                <a:gd name="T11" fmla="*/ 60 h 63"/>
                <a:gd name="T12" fmla="*/ 55 w 65"/>
                <a:gd name="T13" fmla="*/ 5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3">
                  <a:moveTo>
                    <a:pt x="55" y="57"/>
                  </a:moveTo>
                  <a:lnTo>
                    <a:pt x="64" y="6"/>
                  </a:lnTo>
                  <a:cubicBezTo>
                    <a:pt x="65" y="3"/>
                    <a:pt x="62" y="0"/>
                    <a:pt x="58" y="0"/>
                  </a:cubicBezTo>
                  <a:lnTo>
                    <a:pt x="7" y="1"/>
                  </a:lnTo>
                  <a:cubicBezTo>
                    <a:pt x="2" y="1"/>
                    <a:pt x="0" y="6"/>
                    <a:pt x="3" y="10"/>
                  </a:cubicBezTo>
                  <a:lnTo>
                    <a:pt x="45" y="60"/>
                  </a:lnTo>
                  <a:cubicBezTo>
                    <a:pt x="48" y="63"/>
                    <a:pt x="54" y="62"/>
                    <a:pt x="55" y="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326"/>
            <p:cNvSpPr>
              <a:spLocks/>
            </p:cNvSpPr>
            <p:nvPr/>
          </p:nvSpPr>
          <p:spPr bwMode="auto">
            <a:xfrm>
              <a:off x="7778751" y="738188"/>
              <a:ext cx="255588" cy="219075"/>
            </a:xfrm>
            <a:custGeom>
              <a:avLst/>
              <a:gdLst>
                <a:gd name="T0" fmla="*/ 18 w 161"/>
                <a:gd name="T1" fmla="*/ 138 h 138"/>
                <a:gd name="T2" fmla="*/ 0 w 161"/>
                <a:gd name="T3" fmla="*/ 116 h 138"/>
                <a:gd name="T4" fmla="*/ 143 w 161"/>
                <a:gd name="T5" fmla="*/ 0 h 138"/>
                <a:gd name="T6" fmla="*/ 161 w 161"/>
                <a:gd name="T7" fmla="*/ 22 h 138"/>
                <a:gd name="T8" fmla="*/ 18 w 161"/>
                <a:gd name="T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138">
                  <a:moveTo>
                    <a:pt x="18" y="138"/>
                  </a:moveTo>
                  <a:lnTo>
                    <a:pt x="0" y="116"/>
                  </a:lnTo>
                  <a:lnTo>
                    <a:pt x="143" y="0"/>
                  </a:lnTo>
                  <a:lnTo>
                    <a:pt x="161" y="22"/>
                  </a:lnTo>
                  <a:lnTo>
                    <a:pt x="18" y="1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327"/>
            <p:cNvSpPr>
              <a:spLocks/>
            </p:cNvSpPr>
            <p:nvPr/>
          </p:nvSpPr>
          <p:spPr bwMode="auto">
            <a:xfrm>
              <a:off x="7477126" y="804863"/>
              <a:ext cx="257175" cy="163513"/>
            </a:xfrm>
            <a:custGeom>
              <a:avLst/>
              <a:gdLst>
                <a:gd name="T0" fmla="*/ 150 w 162"/>
                <a:gd name="T1" fmla="*/ 103 h 103"/>
                <a:gd name="T2" fmla="*/ 0 w 162"/>
                <a:gd name="T3" fmla="*/ 25 h 103"/>
                <a:gd name="T4" fmla="*/ 13 w 162"/>
                <a:gd name="T5" fmla="*/ 0 h 103"/>
                <a:gd name="T6" fmla="*/ 162 w 162"/>
                <a:gd name="T7" fmla="*/ 77 h 103"/>
                <a:gd name="T8" fmla="*/ 150 w 162"/>
                <a:gd name="T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103">
                  <a:moveTo>
                    <a:pt x="150" y="103"/>
                  </a:moveTo>
                  <a:lnTo>
                    <a:pt x="0" y="25"/>
                  </a:lnTo>
                  <a:lnTo>
                    <a:pt x="13" y="0"/>
                  </a:lnTo>
                  <a:lnTo>
                    <a:pt x="162" y="77"/>
                  </a:lnTo>
                  <a:lnTo>
                    <a:pt x="150" y="10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328"/>
            <p:cNvSpPr>
              <a:spLocks noEditPoints="1"/>
            </p:cNvSpPr>
            <p:nvPr/>
          </p:nvSpPr>
          <p:spPr bwMode="auto">
            <a:xfrm>
              <a:off x="7386638" y="741363"/>
              <a:ext cx="128588" cy="128588"/>
            </a:xfrm>
            <a:custGeom>
              <a:avLst/>
              <a:gdLst>
                <a:gd name="T0" fmla="*/ 41 w 82"/>
                <a:gd name="T1" fmla="*/ 29 h 82"/>
                <a:gd name="T2" fmla="*/ 29 w 82"/>
                <a:gd name="T3" fmla="*/ 41 h 82"/>
                <a:gd name="T4" fmla="*/ 41 w 82"/>
                <a:gd name="T5" fmla="*/ 53 h 82"/>
                <a:gd name="T6" fmla="*/ 53 w 82"/>
                <a:gd name="T7" fmla="*/ 41 h 82"/>
                <a:gd name="T8" fmla="*/ 41 w 82"/>
                <a:gd name="T9" fmla="*/ 29 h 82"/>
                <a:gd name="T10" fmla="*/ 41 w 82"/>
                <a:gd name="T11" fmla="*/ 82 h 82"/>
                <a:gd name="T12" fmla="*/ 0 w 82"/>
                <a:gd name="T13" fmla="*/ 41 h 82"/>
                <a:gd name="T14" fmla="*/ 41 w 82"/>
                <a:gd name="T15" fmla="*/ 0 h 82"/>
                <a:gd name="T16" fmla="*/ 82 w 82"/>
                <a:gd name="T17" fmla="*/ 41 h 82"/>
                <a:gd name="T18" fmla="*/ 41 w 82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41" y="29"/>
                  </a:moveTo>
                  <a:cubicBezTo>
                    <a:pt x="34" y="29"/>
                    <a:pt x="29" y="35"/>
                    <a:pt x="29" y="41"/>
                  </a:cubicBezTo>
                  <a:cubicBezTo>
                    <a:pt x="29" y="48"/>
                    <a:pt x="34" y="53"/>
                    <a:pt x="41" y="53"/>
                  </a:cubicBezTo>
                  <a:cubicBezTo>
                    <a:pt x="47" y="53"/>
                    <a:pt x="53" y="48"/>
                    <a:pt x="53" y="41"/>
                  </a:cubicBezTo>
                  <a:cubicBezTo>
                    <a:pt x="53" y="35"/>
                    <a:pt x="47" y="29"/>
                    <a:pt x="41" y="29"/>
                  </a:cubicBezTo>
                  <a:close/>
                  <a:moveTo>
                    <a:pt x="41" y="82"/>
                  </a:moveTo>
                  <a:cubicBezTo>
                    <a:pt x="18" y="82"/>
                    <a:pt x="0" y="64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64"/>
                    <a:pt x="63" y="82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329"/>
            <p:cNvSpPr>
              <a:spLocks/>
            </p:cNvSpPr>
            <p:nvPr/>
          </p:nvSpPr>
          <p:spPr bwMode="auto">
            <a:xfrm>
              <a:off x="7259638" y="815976"/>
              <a:ext cx="174625" cy="136525"/>
            </a:xfrm>
            <a:custGeom>
              <a:avLst/>
              <a:gdLst>
                <a:gd name="T0" fmla="*/ 14 w 110"/>
                <a:gd name="T1" fmla="*/ 86 h 86"/>
                <a:gd name="T2" fmla="*/ 0 w 110"/>
                <a:gd name="T3" fmla="*/ 62 h 86"/>
                <a:gd name="T4" fmla="*/ 94 w 110"/>
                <a:gd name="T5" fmla="*/ 0 h 86"/>
                <a:gd name="T6" fmla="*/ 110 w 110"/>
                <a:gd name="T7" fmla="*/ 24 h 86"/>
                <a:gd name="T8" fmla="*/ 14 w 110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86">
                  <a:moveTo>
                    <a:pt x="14" y="86"/>
                  </a:moveTo>
                  <a:lnTo>
                    <a:pt x="0" y="62"/>
                  </a:lnTo>
                  <a:lnTo>
                    <a:pt x="94" y="0"/>
                  </a:lnTo>
                  <a:lnTo>
                    <a:pt x="110" y="24"/>
                  </a:lnTo>
                  <a:lnTo>
                    <a:pt x="14" y="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330"/>
            <p:cNvSpPr>
              <a:spLocks noEditPoints="1"/>
            </p:cNvSpPr>
            <p:nvPr/>
          </p:nvSpPr>
          <p:spPr bwMode="auto">
            <a:xfrm>
              <a:off x="7169151" y="893763"/>
              <a:ext cx="127000" cy="127000"/>
            </a:xfrm>
            <a:custGeom>
              <a:avLst/>
              <a:gdLst>
                <a:gd name="T0" fmla="*/ 41 w 82"/>
                <a:gd name="T1" fmla="*/ 28 h 81"/>
                <a:gd name="T2" fmla="*/ 29 w 82"/>
                <a:gd name="T3" fmla="*/ 40 h 81"/>
                <a:gd name="T4" fmla="*/ 41 w 82"/>
                <a:gd name="T5" fmla="*/ 52 h 81"/>
                <a:gd name="T6" fmla="*/ 53 w 82"/>
                <a:gd name="T7" fmla="*/ 40 h 81"/>
                <a:gd name="T8" fmla="*/ 41 w 82"/>
                <a:gd name="T9" fmla="*/ 28 h 81"/>
                <a:gd name="T10" fmla="*/ 41 w 82"/>
                <a:gd name="T11" fmla="*/ 81 h 81"/>
                <a:gd name="T12" fmla="*/ 0 w 82"/>
                <a:gd name="T13" fmla="*/ 40 h 81"/>
                <a:gd name="T14" fmla="*/ 41 w 82"/>
                <a:gd name="T15" fmla="*/ 0 h 81"/>
                <a:gd name="T16" fmla="*/ 82 w 82"/>
                <a:gd name="T17" fmla="*/ 40 h 81"/>
                <a:gd name="T18" fmla="*/ 41 w 82"/>
                <a:gd name="T1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1">
                  <a:moveTo>
                    <a:pt x="41" y="28"/>
                  </a:moveTo>
                  <a:cubicBezTo>
                    <a:pt x="35" y="28"/>
                    <a:pt x="29" y="34"/>
                    <a:pt x="29" y="40"/>
                  </a:cubicBezTo>
                  <a:cubicBezTo>
                    <a:pt x="29" y="47"/>
                    <a:pt x="35" y="52"/>
                    <a:pt x="41" y="52"/>
                  </a:cubicBezTo>
                  <a:cubicBezTo>
                    <a:pt x="48" y="52"/>
                    <a:pt x="53" y="47"/>
                    <a:pt x="53" y="40"/>
                  </a:cubicBezTo>
                  <a:cubicBezTo>
                    <a:pt x="53" y="34"/>
                    <a:pt x="48" y="28"/>
                    <a:pt x="41" y="28"/>
                  </a:cubicBezTo>
                  <a:close/>
                  <a:moveTo>
                    <a:pt x="41" y="81"/>
                  </a:moveTo>
                  <a:cubicBezTo>
                    <a:pt x="19" y="81"/>
                    <a:pt x="0" y="63"/>
                    <a:pt x="0" y="40"/>
                  </a:cubicBezTo>
                  <a:cubicBezTo>
                    <a:pt x="0" y="18"/>
                    <a:pt x="19" y="0"/>
                    <a:pt x="41" y="0"/>
                  </a:cubicBezTo>
                  <a:cubicBezTo>
                    <a:pt x="64" y="0"/>
                    <a:pt x="82" y="18"/>
                    <a:pt x="82" y="40"/>
                  </a:cubicBezTo>
                  <a:cubicBezTo>
                    <a:pt x="82" y="63"/>
                    <a:pt x="64" y="81"/>
                    <a:pt x="41" y="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331"/>
            <p:cNvSpPr>
              <a:spLocks noEditPoints="1"/>
            </p:cNvSpPr>
            <p:nvPr/>
          </p:nvSpPr>
          <p:spPr bwMode="auto">
            <a:xfrm>
              <a:off x="7578726" y="784226"/>
              <a:ext cx="363538" cy="347663"/>
            </a:xfrm>
            <a:custGeom>
              <a:avLst/>
              <a:gdLst>
                <a:gd name="T0" fmla="*/ 117 w 233"/>
                <a:gd name="T1" fmla="*/ 37 h 223"/>
                <a:gd name="T2" fmla="*/ 61 w 233"/>
                <a:gd name="T3" fmla="*/ 60 h 223"/>
                <a:gd name="T4" fmla="*/ 61 w 233"/>
                <a:gd name="T5" fmla="*/ 173 h 223"/>
                <a:gd name="T6" fmla="*/ 173 w 233"/>
                <a:gd name="T7" fmla="*/ 173 h 223"/>
                <a:gd name="T8" fmla="*/ 173 w 233"/>
                <a:gd name="T9" fmla="*/ 60 h 223"/>
                <a:gd name="T10" fmla="*/ 117 w 233"/>
                <a:gd name="T11" fmla="*/ 37 h 223"/>
                <a:gd name="T12" fmla="*/ 117 w 233"/>
                <a:gd name="T13" fmla="*/ 223 h 223"/>
                <a:gd name="T14" fmla="*/ 42 w 233"/>
                <a:gd name="T15" fmla="*/ 192 h 223"/>
                <a:gd name="T16" fmla="*/ 42 w 233"/>
                <a:gd name="T17" fmla="*/ 41 h 223"/>
                <a:gd name="T18" fmla="*/ 192 w 233"/>
                <a:gd name="T19" fmla="*/ 41 h 223"/>
                <a:gd name="T20" fmla="*/ 192 w 233"/>
                <a:gd name="T21" fmla="*/ 192 h 223"/>
                <a:gd name="T22" fmla="*/ 117 w 233"/>
                <a:gd name="T23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3" h="223">
                  <a:moveTo>
                    <a:pt x="117" y="37"/>
                  </a:moveTo>
                  <a:cubicBezTo>
                    <a:pt x="96" y="37"/>
                    <a:pt x="76" y="45"/>
                    <a:pt x="61" y="60"/>
                  </a:cubicBezTo>
                  <a:cubicBezTo>
                    <a:pt x="30" y="91"/>
                    <a:pt x="30" y="142"/>
                    <a:pt x="61" y="173"/>
                  </a:cubicBezTo>
                  <a:cubicBezTo>
                    <a:pt x="92" y="204"/>
                    <a:pt x="142" y="204"/>
                    <a:pt x="173" y="173"/>
                  </a:cubicBezTo>
                  <a:cubicBezTo>
                    <a:pt x="204" y="142"/>
                    <a:pt x="204" y="91"/>
                    <a:pt x="173" y="60"/>
                  </a:cubicBezTo>
                  <a:cubicBezTo>
                    <a:pt x="157" y="45"/>
                    <a:pt x="137" y="37"/>
                    <a:pt x="117" y="37"/>
                  </a:cubicBezTo>
                  <a:close/>
                  <a:moveTo>
                    <a:pt x="117" y="223"/>
                  </a:moveTo>
                  <a:cubicBezTo>
                    <a:pt x="90" y="223"/>
                    <a:pt x="62" y="213"/>
                    <a:pt x="42" y="192"/>
                  </a:cubicBezTo>
                  <a:cubicBezTo>
                    <a:pt x="0" y="150"/>
                    <a:pt x="0" y="83"/>
                    <a:pt x="42" y="41"/>
                  </a:cubicBezTo>
                  <a:cubicBezTo>
                    <a:pt x="83" y="0"/>
                    <a:pt x="150" y="0"/>
                    <a:pt x="192" y="41"/>
                  </a:cubicBezTo>
                  <a:cubicBezTo>
                    <a:pt x="233" y="83"/>
                    <a:pt x="233" y="150"/>
                    <a:pt x="192" y="192"/>
                  </a:cubicBezTo>
                  <a:cubicBezTo>
                    <a:pt x="171" y="213"/>
                    <a:pt x="144" y="223"/>
                    <a:pt x="117" y="2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332"/>
            <p:cNvSpPr>
              <a:spLocks/>
            </p:cNvSpPr>
            <p:nvPr/>
          </p:nvSpPr>
          <p:spPr bwMode="auto">
            <a:xfrm>
              <a:off x="7840663" y="1046163"/>
              <a:ext cx="196850" cy="196850"/>
            </a:xfrm>
            <a:custGeom>
              <a:avLst/>
              <a:gdLst>
                <a:gd name="T0" fmla="*/ 89 w 126"/>
                <a:gd name="T1" fmla="*/ 118 h 126"/>
                <a:gd name="T2" fmla="*/ 0 w 126"/>
                <a:gd name="T3" fmla="*/ 29 h 126"/>
                <a:gd name="T4" fmla="*/ 29 w 126"/>
                <a:gd name="T5" fmla="*/ 0 h 126"/>
                <a:gd name="T6" fmla="*/ 118 w 126"/>
                <a:gd name="T7" fmla="*/ 89 h 126"/>
                <a:gd name="T8" fmla="*/ 118 w 126"/>
                <a:gd name="T9" fmla="*/ 118 h 126"/>
                <a:gd name="T10" fmla="*/ 118 w 126"/>
                <a:gd name="T11" fmla="*/ 118 h 126"/>
                <a:gd name="T12" fmla="*/ 89 w 126"/>
                <a:gd name="T13" fmla="*/ 118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6">
                  <a:moveTo>
                    <a:pt x="89" y="118"/>
                  </a:moveTo>
                  <a:lnTo>
                    <a:pt x="0" y="29"/>
                  </a:lnTo>
                  <a:lnTo>
                    <a:pt x="29" y="0"/>
                  </a:lnTo>
                  <a:lnTo>
                    <a:pt x="118" y="89"/>
                  </a:lnTo>
                  <a:cubicBezTo>
                    <a:pt x="126" y="97"/>
                    <a:pt x="126" y="110"/>
                    <a:pt x="118" y="118"/>
                  </a:cubicBezTo>
                  <a:lnTo>
                    <a:pt x="118" y="118"/>
                  </a:lnTo>
                  <a:cubicBezTo>
                    <a:pt x="110" y="126"/>
                    <a:pt x="97" y="126"/>
                    <a:pt x="89" y="11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333"/>
            <p:cNvSpPr>
              <a:spLocks/>
            </p:cNvSpPr>
            <p:nvPr/>
          </p:nvSpPr>
          <p:spPr bwMode="auto">
            <a:xfrm>
              <a:off x="7205663" y="1408113"/>
              <a:ext cx="774700" cy="42863"/>
            </a:xfrm>
            <a:custGeom>
              <a:avLst/>
              <a:gdLst>
                <a:gd name="T0" fmla="*/ 482 w 496"/>
                <a:gd name="T1" fmla="*/ 27 h 27"/>
                <a:gd name="T2" fmla="*/ 13 w 496"/>
                <a:gd name="T3" fmla="*/ 27 h 27"/>
                <a:gd name="T4" fmla="*/ 0 w 496"/>
                <a:gd name="T5" fmla="*/ 13 h 27"/>
                <a:gd name="T6" fmla="*/ 0 w 496"/>
                <a:gd name="T7" fmla="*/ 13 h 27"/>
                <a:gd name="T8" fmla="*/ 13 w 496"/>
                <a:gd name="T9" fmla="*/ 0 h 27"/>
                <a:gd name="T10" fmla="*/ 482 w 496"/>
                <a:gd name="T11" fmla="*/ 0 h 27"/>
                <a:gd name="T12" fmla="*/ 496 w 496"/>
                <a:gd name="T13" fmla="*/ 13 h 27"/>
                <a:gd name="T14" fmla="*/ 496 w 496"/>
                <a:gd name="T15" fmla="*/ 13 h 27"/>
                <a:gd name="T16" fmla="*/ 482 w 496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6" h="27">
                  <a:moveTo>
                    <a:pt x="482" y="27"/>
                  </a:moveTo>
                  <a:lnTo>
                    <a:pt x="13" y="27"/>
                  </a:lnTo>
                  <a:cubicBezTo>
                    <a:pt x="6" y="27"/>
                    <a:pt x="0" y="21"/>
                    <a:pt x="0" y="13"/>
                  </a:cubicBezTo>
                  <a:lnTo>
                    <a:pt x="0" y="13"/>
                  </a:lnTo>
                  <a:cubicBezTo>
                    <a:pt x="0" y="6"/>
                    <a:pt x="6" y="0"/>
                    <a:pt x="13" y="0"/>
                  </a:cubicBezTo>
                  <a:lnTo>
                    <a:pt x="482" y="0"/>
                  </a:lnTo>
                  <a:cubicBezTo>
                    <a:pt x="490" y="0"/>
                    <a:pt x="496" y="6"/>
                    <a:pt x="496" y="13"/>
                  </a:cubicBezTo>
                  <a:lnTo>
                    <a:pt x="496" y="13"/>
                  </a:lnTo>
                  <a:cubicBezTo>
                    <a:pt x="496" y="21"/>
                    <a:pt x="490" y="27"/>
                    <a:pt x="482" y="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334"/>
            <p:cNvSpPr>
              <a:spLocks/>
            </p:cNvSpPr>
            <p:nvPr/>
          </p:nvSpPr>
          <p:spPr bwMode="auto">
            <a:xfrm>
              <a:off x="7221538" y="1066801"/>
              <a:ext cx="93663" cy="307975"/>
            </a:xfrm>
            <a:custGeom>
              <a:avLst/>
              <a:gdLst>
                <a:gd name="T0" fmla="*/ 48 w 60"/>
                <a:gd name="T1" fmla="*/ 0 h 198"/>
                <a:gd name="T2" fmla="*/ 12 w 60"/>
                <a:gd name="T3" fmla="*/ 0 h 198"/>
                <a:gd name="T4" fmla="*/ 0 w 60"/>
                <a:gd name="T5" fmla="*/ 12 h 198"/>
                <a:gd name="T6" fmla="*/ 0 w 60"/>
                <a:gd name="T7" fmla="*/ 187 h 198"/>
                <a:gd name="T8" fmla="*/ 12 w 60"/>
                <a:gd name="T9" fmla="*/ 198 h 198"/>
                <a:gd name="T10" fmla="*/ 48 w 60"/>
                <a:gd name="T11" fmla="*/ 198 h 198"/>
                <a:gd name="T12" fmla="*/ 60 w 60"/>
                <a:gd name="T13" fmla="*/ 187 h 198"/>
                <a:gd name="T14" fmla="*/ 60 w 60"/>
                <a:gd name="T15" fmla="*/ 12 h 198"/>
                <a:gd name="T16" fmla="*/ 48 w 60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198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187"/>
                  </a:lnTo>
                  <a:cubicBezTo>
                    <a:pt x="0" y="193"/>
                    <a:pt x="5" y="198"/>
                    <a:pt x="12" y="198"/>
                  </a:cubicBezTo>
                  <a:lnTo>
                    <a:pt x="48" y="198"/>
                  </a:lnTo>
                  <a:cubicBezTo>
                    <a:pt x="55" y="198"/>
                    <a:pt x="60" y="193"/>
                    <a:pt x="60" y="187"/>
                  </a:cubicBezTo>
                  <a:lnTo>
                    <a:pt x="60" y="12"/>
                  </a:lnTo>
                  <a:cubicBezTo>
                    <a:pt x="60" y="6"/>
                    <a:pt x="55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335"/>
            <p:cNvSpPr>
              <a:spLocks/>
            </p:cNvSpPr>
            <p:nvPr/>
          </p:nvSpPr>
          <p:spPr bwMode="auto">
            <a:xfrm>
              <a:off x="7351713" y="1009651"/>
              <a:ext cx="93663" cy="365125"/>
            </a:xfrm>
            <a:custGeom>
              <a:avLst/>
              <a:gdLst>
                <a:gd name="T0" fmla="*/ 48 w 60"/>
                <a:gd name="T1" fmla="*/ 0 h 234"/>
                <a:gd name="T2" fmla="*/ 12 w 60"/>
                <a:gd name="T3" fmla="*/ 0 h 234"/>
                <a:gd name="T4" fmla="*/ 0 w 60"/>
                <a:gd name="T5" fmla="*/ 12 h 234"/>
                <a:gd name="T6" fmla="*/ 0 w 60"/>
                <a:gd name="T7" fmla="*/ 223 h 234"/>
                <a:gd name="T8" fmla="*/ 12 w 60"/>
                <a:gd name="T9" fmla="*/ 234 h 234"/>
                <a:gd name="T10" fmla="*/ 48 w 60"/>
                <a:gd name="T11" fmla="*/ 234 h 234"/>
                <a:gd name="T12" fmla="*/ 60 w 60"/>
                <a:gd name="T13" fmla="*/ 223 h 234"/>
                <a:gd name="T14" fmla="*/ 60 w 60"/>
                <a:gd name="T15" fmla="*/ 12 h 234"/>
                <a:gd name="T16" fmla="*/ 48 w 60"/>
                <a:gd name="T17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234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223"/>
                  </a:lnTo>
                  <a:cubicBezTo>
                    <a:pt x="0" y="229"/>
                    <a:pt x="5" y="234"/>
                    <a:pt x="12" y="234"/>
                  </a:cubicBezTo>
                  <a:lnTo>
                    <a:pt x="48" y="234"/>
                  </a:lnTo>
                  <a:cubicBezTo>
                    <a:pt x="54" y="234"/>
                    <a:pt x="60" y="229"/>
                    <a:pt x="60" y="223"/>
                  </a:cubicBezTo>
                  <a:lnTo>
                    <a:pt x="60" y="12"/>
                  </a:lnTo>
                  <a:cubicBezTo>
                    <a:pt x="60" y="6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336"/>
            <p:cNvSpPr>
              <a:spLocks/>
            </p:cNvSpPr>
            <p:nvPr/>
          </p:nvSpPr>
          <p:spPr bwMode="auto">
            <a:xfrm>
              <a:off x="7480301" y="1066801"/>
              <a:ext cx="92075" cy="307975"/>
            </a:xfrm>
            <a:custGeom>
              <a:avLst/>
              <a:gdLst>
                <a:gd name="T0" fmla="*/ 48 w 59"/>
                <a:gd name="T1" fmla="*/ 0 h 198"/>
                <a:gd name="T2" fmla="*/ 12 w 59"/>
                <a:gd name="T3" fmla="*/ 0 h 198"/>
                <a:gd name="T4" fmla="*/ 0 w 59"/>
                <a:gd name="T5" fmla="*/ 12 h 198"/>
                <a:gd name="T6" fmla="*/ 0 w 59"/>
                <a:gd name="T7" fmla="*/ 187 h 198"/>
                <a:gd name="T8" fmla="*/ 12 w 59"/>
                <a:gd name="T9" fmla="*/ 198 h 198"/>
                <a:gd name="T10" fmla="*/ 48 w 59"/>
                <a:gd name="T11" fmla="*/ 198 h 198"/>
                <a:gd name="T12" fmla="*/ 59 w 59"/>
                <a:gd name="T13" fmla="*/ 187 h 198"/>
                <a:gd name="T14" fmla="*/ 59 w 59"/>
                <a:gd name="T15" fmla="*/ 12 h 198"/>
                <a:gd name="T16" fmla="*/ 48 w 59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98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187"/>
                  </a:lnTo>
                  <a:cubicBezTo>
                    <a:pt x="0" y="193"/>
                    <a:pt x="5" y="198"/>
                    <a:pt x="12" y="198"/>
                  </a:cubicBezTo>
                  <a:lnTo>
                    <a:pt x="48" y="198"/>
                  </a:lnTo>
                  <a:cubicBezTo>
                    <a:pt x="54" y="198"/>
                    <a:pt x="59" y="193"/>
                    <a:pt x="59" y="187"/>
                  </a:cubicBezTo>
                  <a:lnTo>
                    <a:pt x="59" y="12"/>
                  </a:lnTo>
                  <a:cubicBezTo>
                    <a:pt x="59" y="6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337"/>
            <p:cNvSpPr>
              <a:spLocks/>
            </p:cNvSpPr>
            <p:nvPr/>
          </p:nvSpPr>
          <p:spPr bwMode="auto">
            <a:xfrm>
              <a:off x="7610476" y="1168401"/>
              <a:ext cx="92075" cy="206375"/>
            </a:xfrm>
            <a:custGeom>
              <a:avLst/>
              <a:gdLst>
                <a:gd name="T0" fmla="*/ 48 w 59"/>
                <a:gd name="T1" fmla="*/ 0 h 133"/>
                <a:gd name="T2" fmla="*/ 11 w 59"/>
                <a:gd name="T3" fmla="*/ 0 h 133"/>
                <a:gd name="T4" fmla="*/ 0 w 59"/>
                <a:gd name="T5" fmla="*/ 11 h 133"/>
                <a:gd name="T6" fmla="*/ 0 w 59"/>
                <a:gd name="T7" fmla="*/ 122 h 133"/>
                <a:gd name="T8" fmla="*/ 11 w 59"/>
                <a:gd name="T9" fmla="*/ 133 h 133"/>
                <a:gd name="T10" fmla="*/ 48 w 59"/>
                <a:gd name="T11" fmla="*/ 133 h 133"/>
                <a:gd name="T12" fmla="*/ 59 w 59"/>
                <a:gd name="T13" fmla="*/ 122 h 133"/>
                <a:gd name="T14" fmla="*/ 59 w 59"/>
                <a:gd name="T15" fmla="*/ 11 h 133"/>
                <a:gd name="T16" fmla="*/ 48 w 59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33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122"/>
                  </a:lnTo>
                  <a:cubicBezTo>
                    <a:pt x="0" y="128"/>
                    <a:pt x="5" y="133"/>
                    <a:pt x="11" y="133"/>
                  </a:cubicBezTo>
                  <a:lnTo>
                    <a:pt x="48" y="133"/>
                  </a:lnTo>
                  <a:cubicBezTo>
                    <a:pt x="54" y="133"/>
                    <a:pt x="59" y="128"/>
                    <a:pt x="59" y="122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338"/>
            <p:cNvSpPr>
              <a:spLocks/>
            </p:cNvSpPr>
            <p:nvPr/>
          </p:nvSpPr>
          <p:spPr bwMode="auto">
            <a:xfrm>
              <a:off x="7739063" y="1168401"/>
              <a:ext cx="92075" cy="206375"/>
            </a:xfrm>
            <a:custGeom>
              <a:avLst/>
              <a:gdLst>
                <a:gd name="T0" fmla="*/ 48 w 59"/>
                <a:gd name="T1" fmla="*/ 0 h 133"/>
                <a:gd name="T2" fmla="*/ 11 w 59"/>
                <a:gd name="T3" fmla="*/ 0 h 133"/>
                <a:gd name="T4" fmla="*/ 0 w 59"/>
                <a:gd name="T5" fmla="*/ 11 h 133"/>
                <a:gd name="T6" fmla="*/ 0 w 59"/>
                <a:gd name="T7" fmla="*/ 122 h 133"/>
                <a:gd name="T8" fmla="*/ 11 w 59"/>
                <a:gd name="T9" fmla="*/ 133 h 133"/>
                <a:gd name="T10" fmla="*/ 48 w 59"/>
                <a:gd name="T11" fmla="*/ 133 h 133"/>
                <a:gd name="T12" fmla="*/ 59 w 59"/>
                <a:gd name="T13" fmla="*/ 122 h 133"/>
                <a:gd name="T14" fmla="*/ 59 w 59"/>
                <a:gd name="T15" fmla="*/ 11 h 133"/>
                <a:gd name="T16" fmla="*/ 48 w 59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33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122"/>
                  </a:lnTo>
                  <a:cubicBezTo>
                    <a:pt x="0" y="128"/>
                    <a:pt x="5" y="133"/>
                    <a:pt x="11" y="133"/>
                  </a:cubicBezTo>
                  <a:lnTo>
                    <a:pt x="48" y="133"/>
                  </a:lnTo>
                  <a:cubicBezTo>
                    <a:pt x="54" y="133"/>
                    <a:pt x="59" y="128"/>
                    <a:pt x="59" y="122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339"/>
            <p:cNvSpPr>
              <a:spLocks/>
            </p:cNvSpPr>
            <p:nvPr/>
          </p:nvSpPr>
          <p:spPr bwMode="auto">
            <a:xfrm>
              <a:off x="7869238" y="1249363"/>
              <a:ext cx="92075" cy="125413"/>
            </a:xfrm>
            <a:custGeom>
              <a:avLst/>
              <a:gdLst>
                <a:gd name="T0" fmla="*/ 48 w 59"/>
                <a:gd name="T1" fmla="*/ 0 h 81"/>
                <a:gd name="T2" fmla="*/ 11 w 59"/>
                <a:gd name="T3" fmla="*/ 0 h 81"/>
                <a:gd name="T4" fmla="*/ 0 w 59"/>
                <a:gd name="T5" fmla="*/ 11 h 81"/>
                <a:gd name="T6" fmla="*/ 0 w 59"/>
                <a:gd name="T7" fmla="*/ 70 h 81"/>
                <a:gd name="T8" fmla="*/ 11 w 59"/>
                <a:gd name="T9" fmla="*/ 81 h 81"/>
                <a:gd name="T10" fmla="*/ 48 w 59"/>
                <a:gd name="T11" fmla="*/ 81 h 81"/>
                <a:gd name="T12" fmla="*/ 59 w 59"/>
                <a:gd name="T13" fmla="*/ 70 h 81"/>
                <a:gd name="T14" fmla="*/ 59 w 59"/>
                <a:gd name="T15" fmla="*/ 11 h 81"/>
                <a:gd name="T16" fmla="*/ 48 w 59"/>
                <a:gd name="T1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81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70"/>
                  </a:lnTo>
                  <a:cubicBezTo>
                    <a:pt x="0" y="76"/>
                    <a:pt x="5" y="81"/>
                    <a:pt x="11" y="81"/>
                  </a:cubicBezTo>
                  <a:lnTo>
                    <a:pt x="48" y="81"/>
                  </a:lnTo>
                  <a:cubicBezTo>
                    <a:pt x="54" y="81"/>
                    <a:pt x="59" y="76"/>
                    <a:pt x="59" y="70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4" name="Google Shape;344;p46"/>
          <p:cNvGraphicFramePr/>
          <p:nvPr/>
        </p:nvGraphicFramePr>
        <p:xfrm>
          <a:off x="1068100" y="1677910"/>
          <a:ext cx="7047300" cy="2386325"/>
        </p:xfrm>
        <a:graphic>
          <a:graphicData uri="http://schemas.openxmlformats.org/drawingml/2006/table">
            <a:tbl>
              <a:tblPr>
                <a:noFill/>
                <a:tableStyleId>{548FF324-D5AF-49EA-A2E9-B6584FF6F7AD}</a:tableStyleId>
              </a:tblPr>
              <a:tblGrid>
                <a:gridCol w="1256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62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221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22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041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>
                        <a:solidFill>
                          <a:srgbClr val="666666"/>
                        </a:solidFill>
                        <a:latin typeface="Ubuntu Light"/>
                        <a:ea typeface="Ubuntu Light"/>
                        <a:cs typeface="Ubuntu Light"/>
                        <a:sym typeface="Ubuntu Light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rgbClr val="EFEFE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D67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38100" cap="flat" cmpd="sng">
                      <a:solidFill>
                        <a:srgbClr val="8B81D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 b="1">
                          <a:solidFill>
                            <a:schemeClr val="dk1"/>
                          </a:solidFill>
                          <a:latin typeface="Ubuntu"/>
                          <a:ea typeface="Ubuntu"/>
                          <a:cs typeface="Ubuntu"/>
                          <a:sym typeface="Ubuntu"/>
                        </a:rPr>
                        <a:t>MASS</a:t>
                      </a:r>
                      <a:endParaRPr b="1">
                        <a:solidFill>
                          <a:schemeClr val="dk1"/>
                        </a:solidFill>
                        <a:latin typeface="Ubuntu"/>
                        <a:ea typeface="Ubuntu"/>
                        <a:cs typeface="Ubuntu"/>
                        <a:sym typeface="Ubuntu"/>
                      </a:endParaRP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 sz="900" b="1">
                          <a:solidFill>
                            <a:schemeClr val="dk1"/>
                          </a:solidFill>
                          <a:latin typeface="Ubuntu"/>
                          <a:ea typeface="Ubuntu"/>
                          <a:cs typeface="Ubuntu"/>
                          <a:sym typeface="Ubuntu"/>
                        </a:rPr>
                        <a:t>(earths)</a:t>
                      </a:r>
                      <a:endParaRPr sz="900" b="1">
                        <a:solidFill>
                          <a:schemeClr val="dk1"/>
                        </a:solidFill>
                        <a:latin typeface="Ubuntu"/>
                        <a:ea typeface="Ubuntu"/>
                        <a:cs typeface="Ubuntu"/>
                        <a:sym typeface="Ubuntu"/>
                      </a:endParaRPr>
                    </a:p>
                  </a:txBody>
                  <a:tcPr marL="91425" marR="91425" marT="68575" marB="68575">
                    <a:lnL w="9525" cap="flat" cmpd="sng">
                      <a:solidFill>
                        <a:srgbClr val="EFD67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D67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38100" cap="flat" cmpd="sng">
                      <a:solidFill>
                        <a:srgbClr val="8B81D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s" b="1">
                          <a:solidFill>
                            <a:schemeClr val="dk1"/>
                          </a:solidFill>
                          <a:latin typeface="Ubuntu"/>
                          <a:ea typeface="Ubuntu"/>
                          <a:cs typeface="Ubuntu"/>
                          <a:sym typeface="Ubuntu"/>
                        </a:rPr>
                        <a:t>DIAMETER</a:t>
                      </a:r>
                      <a:endParaRPr b="1">
                        <a:solidFill>
                          <a:schemeClr val="dk1"/>
                        </a:solidFill>
                        <a:latin typeface="Ubuntu"/>
                        <a:ea typeface="Ubuntu"/>
                        <a:cs typeface="Ubuntu"/>
                        <a:sym typeface="Ubuntu"/>
                      </a:endParaRP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 sz="900" b="1">
                          <a:solidFill>
                            <a:schemeClr val="dk1"/>
                          </a:solidFill>
                          <a:latin typeface="Ubuntu"/>
                          <a:ea typeface="Ubuntu"/>
                          <a:cs typeface="Ubuntu"/>
                          <a:sym typeface="Ubuntu"/>
                        </a:rPr>
                        <a:t>(earths)</a:t>
                      </a:r>
                      <a:endParaRPr sz="1200" b="1">
                        <a:solidFill>
                          <a:schemeClr val="dk1"/>
                        </a:solidFill>
                        <a:latin typeface="Ubuntu"/>
                        <a:ea typeface="Ubuntu"/>
                        <a:cs typeface="Ubuntu"/>
                        <a:sym typeface="Ubuntu"/>
                      </a:endParaRPr>
                    </a:p>
                  </a:txBody>
                  <a:tcPr marL="91425" marR="91425" marT="68575" marB="68575">
                    <a:lnL w="9525" cap="flat" cmpd="sng">
                      <a:solidFill>
                        <a:srgbClr val="EFD67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D67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38100" cap="flat" cmpd="sng">
                      <a:solidFill>
                        <a:srgbClr val="8B81D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s" b="1">
                          <a:solidFill>
                            <a:schemeClr val="dk1"/>
                          </a:solidFill>
                          <a:latin typeface="Ubuntu"/>
                          <a:ea typeface="Ubuntu"/>
                          <a:cs typeface="Ubuntu"/>
                          <a:sym typeface="Ubuntu"/>
                        </a:rPr>
                        <a:t>SURFACE GRAVITY</a:t>
                      </a:r>
                      <a:endParaRPr b="1">
                        <a:solidFill>
                          <a:schemeClr val="dk1"/>
                        </a:solidFill>
                        <a:latin typeface="Ubuntu"/>
                        <a:ea typeface="Ubuntu"/>
                        <a:cs typeface="Ubuntu"/>
                        <a:sym typeface="Ubuntu"/>
                      </a:endParaRP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s" sz="900" b="1">
                          <a:solidFill>
                            <a:schemeClr val="dk1"/>
                          </a:solidFill>
                          <a:latin typeface="Ubuntu"/>
                          <a:ea typeface="Ubuntu"/>
                          <a:cs typeface="Ubuntu"/>
                          <a:sym typeface="Ubuntu"/>
                        </a:rPr>
                        <a:t>(earths)</a:t>
                      </a:r>
                      <a:endParaRPr sz="1200" b="1">
                        <a:solidFill>
                          <a:schemeClr val="dk1"/>
                        </a:solidFill>
                        <a:latin typeface="Ubuntu"/>
                        <a:ea typeface="Ubuntu"/>
                        <a:cs typeface="Ubuntu"/>
                        <a:sym typeface="Ubuntu"/>
                      </a:endParaRPr>
                    </a:p>
                  </a:txBody>
                  <a:tcPr marL="91425" marR="91425" marT="68575" marB="68575">
                    <a:lnL w="9525" cap="flat" cmpd="sng">
                      <a:solidFill>
                        <a:srgbClr val="EFD67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EFE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38100" cap="flat" cmpd="sng">
                      <a:solidFill>
                        <a:srgbClr val="8B81D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740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 b="1">
                          <a:solidFill>
                            <a:schemeClr val="dk1"/>
                          </a:solidFill>
                          <a:latin typeface="Ubuntu"/>
                          <a:ea typeface="Ubuntu"/>
                          <a:cs typeface="Ubuntu"/>
                          <a:sym typeface="Ubuntu"/>
                        </a:rPr>
                        <a:t>MERCURY</a:t>
                      </a:r>
                      <a:endParaRPr b="1">
                        <a:solidFill>
                          <a:schemeClr val="dk1"/>
                        </a:solidFill>
                        <a:latin typeface="Ubuntu"/>
                        <a:ea typeface="Ubuntu"/>
                        <a:cs typeface="Ubuntu"/>
                        <a:sym typeface="Ubuntu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>
                          <a:solidFill>
                            <a:schemeClr val="dk2"/>
                          </a:solidFill>
                          <a:latin typeface="Ubuntu Light"/>
                          <a:ea typeface="Ubuntu Light"/>
                          <a:cs typeface="Ubuntu Light"/>
                          <a:sym typeface="Ubuntu Light"/>
                        </a:rPr>
                        <a:t>0,06</a:t>
                      </a:r>
                      <a:endParaRPr>
                        <a:solidFill>
                          <a:schemeClr val="dk2"/>
                        </a:solidFill>
                        <a:latin typeface="Ubuntu Light"/>
                        <a:ea typeface="Ubuntu Light"/>
                        <a:cs typeface="Ubuntu Light"/>
                        <a:sym typeface="Ubuntu Light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>
                        <a:alpha val="2793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>
                          <a:solidFill>
                            <a:schemeClr val="dk2"/>
                          </a:solidFill>
                          <a:latin typeface="Ubuntu Light"/>
                          <a:ea typeface="Ubuntu Light"/>
                          <a:cs typeface="Ubuntu Light"/>
                          <a:sym typeface="Ubuntu Light"/>
                        </a:rPr>
                        <a:t>0,38</a:t>
                      </a:r>
                      <a:endParaRPr>
                        <a:solidFill>
                          <a:schemeClr val="dk2"/>
                        </a:solidFill>
                        <a:latin typeface="Ubuntu Light"/>
                        <a:ea typeface="Ubuntu Light"/>
                        <a:cs typeface="Ubuntu Light"/>
                        <a:sym typeface="Ubuntu Light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>
                        <a:alpha val="2793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>
                          <a:solidFill>
                            <a:schemeClr val="dk2"/>
                          </a:solidFill>
                          <a:latin typeface="Ubuntu Light"/>
                          <a:ea typeface="Ubuntu Light"/>
                          <a:cs typeface="Ubuntu Light"/>
                          <a:sym typeface="Ubuntu Light"/>
                        </a:rPr>
                        <a:t>0,38</a:t>
                      </a:r>
                      <a:endParaRPr>
                        <a:solidFill>
                          <a:schemeClr val="dk2"/>
                        </a:solidFill>
                        <a:latin typeface="Ubuntu Light"/>
                        <a:ea typeface="Ubuntu Light"/>
                        <a:cs typeface="Ubuntu Light"/>
                        <a:sym typeface="Ubuntu Light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>
                        <a:alpha val="2793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740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 b="1">
                          <a:solidFill>
                            <a:schemeClr val="dk1"/>
                          </a:solidFill>
                          <a:latin typeface="Ubuntu"/>
                          <a:ea typeface="Ubuntu"/>
                          <a:cs typeface="Ubuntu"/>
                          <a:sym typeface="Ubuntu"/>
                        </a:rPr>
                        <a:t>MARS</a:t>
                      </a:r>
                      <a:endParaRPr b="1">
                        <a:solidFill>
                          <a:schemeClr val="dk1"/>
                        </a:solidFill>
                        <a:latin typeface="Ubuntu"/>
                        <a:ea typeface="Ubuntu"/>
                        <a:cs typeface="Ubuntu"/>
                        <a:sym typeface="Ubuntu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>
                          <a:solidFill>
                            <a:schemeClr val="dk2"/>
                          </a:solidFill>
                          <a:latin typeface="Ubuntu Light"/>
                          <a:ea typeface="Ubuntu Light"/>
                          <a:cs typeface="Ubuntu Light"/>
                          <a:sym typeface="Ubuntu Light"/>
                        </a:rPr>
                        <a:t>0,11</a:t>
                      </a:r>
                      <a:endParaRPr>
                        <a:solidFill>
                          <a:schemeClr val="dk2"/>
                        </a:solidFill>
                        <a:latin typeface="Ubuntu Light"/>
                        <a:ea typeface="Ubuntu Light"/>
                        <a:cs typeface="Ubuntu Light"/>
                        <a:sym typeface="Ubuntu Light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>
                        <a:alpha val="2793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>
                          <a:solidFill>
                            <a:schemeClr val="dk2"/>
                          </a:solidFill>
                          <a:latin typeface="Ubuntu Light"/>
                          <a:ea typeface="Ubuntu Light"/>
                          <a:cs typeface="Ubuntu Light"/>
                          <a:sym typeface="Ubuntu Light"/>
                        </a:rPr>
                        <a:t>0,53</a:t>
                      </a:r>
                      <a:endParaRPr>
                        <a:solidFill>
                          <a:schemeClr val="dk2"/>
                        </a:solidFill>
                        <a:latin typeface="Ubuntu Light"/>
                        <a:ea typeface="Ubuntu Light"/>
                        <a:cs typeface="Ubuntu Light"/>
                        <a:sym typeface="Ubuntu Light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>
                        <a:alpha val="2793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>
                          <a:solidFill>
                            <a:schemeClr val="dk2"/>
                          </a:solidFill>
                          <a:latin typeface="Ubuntu Light"/>
                          <a:ea typeface="Ubuntu Light"/>
                          <a:cs typeface="Ubuntu Light"/>
                          <a:sym typeface="Ubuntu Light"/>
                        </a:rPr>
                        <a:t>0,38</a:t>
                      </a:r>
                      <a:endParaRPr>
                        <a:solidFill>
                          <a:schemeClr val="dk2"/>
                        </a:solidFill>
                        <a:latin typeface="Ubuntu Light"/>
                        <a:ea typeface="Ubuntu Light"/>
                        <a:cs typeface="Ubuntu Light"/>
                        <a:sym typeface="Ubuntu Light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>
                        <a:alpha val="2793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740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 b="1">
                          <a:solidFill>
                            <a:schemeClr val="dk1"/>
                          </a:solidFill>
                          <a:latin typeface="Ubuntu"/>
                          <a:ea typeface="Ubuntu"/>
                          <a:cs typeface="Ubuntu"/>
                          <a:sym typeface="Ubuntu"/>
                        </a:rPr>
                        <a:t>SATURN</a:t>
                      </a:r>
                      <a:endParaRPr b="1">
                        <a:solidFill>
                          <a:schemeClr val="dk1"/>
                        </a:solidFill>
                        <a:latin typeface="Ubuntu"/>
                        <a:ea typeface="Ubuntu"/>
                        <a:cs typeface="Ubuntu"/>
                        <a:sym typeface="Ubuntu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>
                          <a:solidFill>
                            <a:schemeClr val="dk2"/>
                          </a:solidFill>
                          <a:latin typeface="Ubuntu Light"/>
                          <a:ea typeface="Ubuntu Light"/>
                          <a:cs typeface="Ubuntu Light"/>
                          <a:sym typeface="Ubuntu Light"/>
                        </a:rPr>
                        <a:t>95,2</a:t>
                      </a:r>
                      <a:endParaRPr>
                        <a:solidFill>
                          <a:schemeClr val="dk2"/>
                        </a:solidFill>
                        <a:latin typeface="Ubuntu Light"/>
                        <a:ea typeface="Ubuntu Light"/>
                        <a:cs typeface="Ubuntu Light"/>
                        <a:sym typeface="Ubuntu Light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>
                        <a:alpha val="2793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>
                          <a:solidFill>
                            <a:schemeClr val="dk2"/>
                          </a:solidFill>
                          <a:latin typeface="Ubuntu Light"/>
                          <a:ea typeface="Ubuntu Light"/>
                          <a:cs typeface="Ubuntu Light"/>
                          <a:sym typeface="Ubuntu Light"/>
                        </a:rPr>
                        <a:t>9,4</a:t>
                      </a:r>
                      <a:endParaRPr>
                        <a:solidFill>
                          <a:schemeClr val="dk2"/>
                        </a:solidFill>
                        <a:latin typeface="Ubuntu Light"/>
                        <a:ea typeface="Ubuntu Light"/>
                        <a:cs typeface="Ubuntu Light"/>
                        <a:sym typeface="Ubuntu Light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>
                        <a:alpha val="2793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>
                          <a:solidFill>
                            <a:schemeClr val="dk2"/>
                          </a:solidFill>
                          <a:latin typeface="Ubuntu Light"/>
                          <a:ea typeface="Ubuntu Light"/>
                          <a:cs typeface="Ubuntu Light"/>
                          <a:sym typeface="Ubuntu Light"/>
                        </a:rPr>
                        <a:t>1,16</a:t>
                      </a:r>
                      <a:endParaRPr>
                        <a:solidFill>
                          <a:schemeClr val="dk2"/>
                        </a:solidFill>
                        <a:latin typeface="Ubuntu Light"/>
                        <a:ea typeface="Ubuntu Light"/>
                        <a:cs typeface="Ubuntu Light"/>
                        <a:sym typeface="Ubuntu Light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>
                        <a:alpha val="2793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45" name="Google Shape;345;p46"/>
          <p:cNvSpPr txBox="1">
            <a:spLocks noGrp="1"/>
          </p:cNvSpPr>
          <p:nvPr>
            <p:ph type="title"/>
          </p:nvPr>
        </p:nvSpPr>
        <p:spPr>
          <a:xfrm>
            <a:off x="1175275" y="569975"/>
            <a:ext cx="6630300" cy="550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b="1" dirty="0"/>
              <a:t>… and the same </a:t>
            </a:r>
            <a:r>
              <a:rPr lang="es" dirty="0"/>
              <a:t>goes for</a:t>
            </a:r>
            <a:r>
              <a:rPr lang="es" b="1" dirty="0"/>
              <a:t> tables</a:t>
            </a:r>
            <a:endParaRPr b="1" dirty="0"/>
          </a:p>
        </p:txBody>
      </p:sp>
      <p:sp>
        <p:nvSpPr>
          <p:cNvPr id="346" name="Google Shape;346;p4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>
                <a:solidFill>
                  <a:schemeClr val="bg1">
                    <a:lumMod val="65000"/>
                  </a:schemeClr>
                </a:solidFill>
              </a:rPr>
              <a:t>13</a:t>
            </a:fld>
            <a:endParaRPr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" name="Google Shape;911;p59"/>
          <p:cNvSpPr/>
          <p:nvPr/>
        </p:nvSpPr>
        <p:spPr>
          <a:xfrm>
            <a:off x="676300" y="290212"/>
            <a:ext cx="7848900" cy="4447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3" name="Google Shape;913;p59"/>
          <p:cNvSpPr txBox="1">
            <a:spLocks noGrp="1"/>
          </p:cNvSpPr>
          <p:nvPr>
            <p:ph type="body" idx="4294967295"/>
          </p:nvPr>
        </p:nvSpPr>
        <p:spPr>
          <a:xfrm>
            <a:off x="2705500" y="2513962"/>
            <a:ext cx="3790500" cy="93425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</a:rPr>
              <a:t>Questions?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</a:rPr>
              <a:t>Here’s  other contact info: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2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915" name="Google Shape;915;p59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 sz="1200">
                <a:latin typeface="Arvo"/>
                <a:ea typeface="Arvo"/>
                <a:cs typeface="Arvo"/>
                <a:sym typeface="Arvo"/>
              </a:rPr>
              <a:t>14</a:t>
            </a:fld>
            <a:endParaRPr sz="1200" dirty="0">
              <a:latin typeface="Arvo"/>
              <a:ea typeface="Arvo"/>
              <a:cs typeface="Arvo"/>
              <a:sym typeface="Arvo"/>
            </a:endParaRPr>
          </a:p>
        </p:txBody>
      </p:sp>
      <p:sp>
        <p:nvSpPr>
          <p:cNvPr id="916" name="Google Shape;916;p59"/>
          <p:cNvSpPr txBox="1">
            <a:spLocks noGrp="1"/>
          </p:cNvSpPr>
          <p:nvPr>
            <p:ph type="ctrTitle"/>
          </p:nvPr>
        </p:nvSpPr>
        <p:spPr>
          <a:xfrm>
            <a:off x="3094000" y="1515550"/>
            <a:ext cx="2955900" cy="853500"/>
          </a:xfrm>
          <a:prstGeom prst="rect">
            <a:avLst/>
          </a:prstGeom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s" sz="3600"/>
              <a:t>T</a:t>
            </a:r>
            <a:r>
              <a:rPr lang="es"/>
              <a:t>hanks</a:t>
            </a:r>
            <a:r>
              <a:rPr lang="es" sz="3600"/>
              <a:t>!</a:t>
            </a:r>
            <a:endParaRPr i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2"/>
          <p:cNvSpPr txBox="1">
            <a:spLocks noGrp="1"/>
          </p:cNvSpPr>
          <p:nvPr>
            <p:ph type="title"/>
          </p:nvPr>
        </p:nvSpPr>
        <p:spPr>
          <a:xfrm>
            <a:off x="570046" y="993900"/>
            <a:ext cx="3816099" cy="1114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6000" b="1" dirty="0" smtClean="0"/>
              <a:t>Welcome!</a:t>
            </a:r>
            <a:endParaRPr sz="6000" b="1" dirty="0"/>
          </a:p>
        </p:txBody>
      </p:sp>
      <p:sp>
        <p:nvSpPr>
          <p:cNvPr id="211" name="Google Shape;211;p32"/>
          <p:cNvSpPr txBox="1">
            <a:spLocks noGrp="1"/>
          </p:cNvSpPr>
          <p:nvPr>
            <p:ph type="subTitle" idx="1"/>
          </p:nvPr>
        </p:nvSpPr>
        <p:spPr>
          <a:xfrm>
            <a:off x="614775" y="2564775"/>
            <a:ext cx="2920800" cy="159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s" sz="1800" dirty="0" smtClean="0"/>
              <a:t>Introducing ….</a:t>
            </a:r>
            <a:endParaRPr sz="1800" dirty="0"/>
          </a:p>
        </p:txBody>
      </p:sp>
      <p:sp>
        <p:nvSpPr>
          <p:cNvPr id="212" name="Google Shape;212;p32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2</a:t>
            </a:fld>
            <a:endParaRPr/>
          </a:p>
        </p:txBody>
      </p:sp>
      <p:cxnSp>
        <p:nvCxnSpPr>
          <p:cNvPr id="213" name="Google Shape;213;p32"/>
          <p:cNvCxnSpPr/>
          <p:nvPr/>
        </p:nvCxnSpPr>
        <p:spPr>
          <a:xfrm>
            <a:off x="678525" y="2060575"/>
            <a:ext cx="676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83250" y="382880"/>
            <a:ext cx="3954618" cy="4070521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31"/>
          <p:cNvSpPr txBox="1">
            <a:spLocks noGrp="1"/>
          </p:cNvSpPr>
          <p:nvPr>
            <p:ph type="title"/>
          </p:nvPr>
        </p:nvSpPr>
        <p:spPr>
          <a:xfrm>
            <a:off x="4698275" y="189950"/>
            <a:ext cx="5311200" cy="111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/>
              <a:t>Contents</a:t>
            </a:r>
            <a:endParaRPr/>
          </a:p>
        </p:txBody>
      </p:sp>
      <p:sp>
        <p:nvSpPr>
          <p:cNvPr id="196" name="Google Shape;196;p3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3</a:t>
            </a:fld>
            <a:endParaRPr/>
          </a:p>
        </p:txBody>
      </p:sp>
      <p:sp>
        <p:nvSpPr>
          <p:cNvPr id="197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4696225" y="1198788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>
                <a:solidFill>
                  <a:schemeClr val="bg1">
                    <a:lumMod val="50000"/>
                  </a:schemeClr>
                </a:solidFill>
              </a:rPr>
              <a:t>Title 1</a:t>
            </a:r>
            <a:endParaRPr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8" name="Google Shape;198;p31"/>
          <p:cNvSpPr txBox="1">
            <a:spLocks noGrp="1"/>
          </p:cNvSpPr>
          <p:nvPr>
            <p:ph type="subTitle" idx="3"/>
          </p:nvPr>
        </p:nvSpPr>
        <p:spPr>
          <a:xfrm>
            <a:off x="4696224" y="283667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/>
            <a:r>
              <a:rPr lang="en-US" i="1" dirty="0"/>
              <a:t>This is the subtitle that makes it comprehensible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9" name="Google Shape;199;p31"/>
          <p:cNvSpPr txBox="1">
            <a:spLocks noGrp="1"/>
          </p:cNvSpPr>
          <p:nvPr>
            <p:ph type="title" idx="4"/>
          </p:nvPr>
        </p:nvSpPr>
        <p:spPr>
          <a:xfrm>
            <a:off x="4696225" y="2326013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Title 2</a:t>
            </a:r>
            <a:endParaRPr dirty="0"/>
          </a:p>
        </p:txBody>
      </p:sp>
      <p:sp>
        <p:nvSpPr>
          <p:cNvPr id="200" name="Google Shape;200;p31"/>
          <p:cNvSpPr txBox="1">
            <a:spLocks noGrp="1"/>
          </p:cNvSpPr>
          <p:nvPr>
            <p:ph type="subTitle" idx="1"/>
          </p:nvPr>
        </p:nvSpPr>
        <p:spPr>
          <a:xfrm>
            <a:off x="4696224" y="170944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i="1" dirty="0">
                <a:solidFill>
                  <a:schemeClr val="bg1">
                    <a:lumMod val="50000"/>
                  </a:schemeClr>
                </a:solidFill>
              </a:rPr>
              <a:t>This is the subtitle that makes it comprehensible</a:t>
            </a:r>
            <a:endParaRPr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1" name="Google Shape;201;p31"/>
          <p:cNvSpPr txBox="1">
            <a:spLocks noGrp="1"/>
          </p:cNvSpPr>
          <p:nvPr>
            <p:ph type="subTitle" idx="5"/>
          </p:nvPr>
        </p:nvSpPr>
        <p:spPr>
          <a:xfrm>
            <a:off x="4696224" y="3967490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/>
            <a:r>
              <a:rPr lang="en-US" i="1" dirty="0"/>
              <a:t>This is the subtitle that makes it comprehensible</a:t>
            </a:r>
          </a:p>
        </p:txBody>
      </p:sp>
      <p:sp>
        <p:nvSpPr>
          <p:cNvPr id="202" name="Google Shape;202;p31"/>
          <p:cNvSpPr txBox="1">
            <a:spLocks noGrp="1"/>
          </p:cNvSpPr>
          <p:nvPr>
            <p:ph type="title" idx="6"/>
          </p:nvPr>
        </p:nvSpPr>
        <p:spPr>
          <a:xfrm>
            <a:off x="4696225" y="3453254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Title 3</a:t>
            </a:r>
            <a:endParaRPr dirty="0"/>
          </a:p>
        </p:txBody>
      </p:sp>
      <p:sp>
        <p:nvSpPr>
          <p:cNvPr id="203" name="Google Shape;203;p31"/>
          <p:cNvSpPr txBox="1">
            <a:spLocks noGrp="1"/>
          </p:cNvSpPr>
          <p:nvPr>
            <p:ph type="title" idx="7"/>
          </p:nvPr>
        </p:nvSpPr>
        <p:spPr>
          <a:xfrm>
            <a:off x="3372225" y="151827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/>
              <a:t>1</a:t>
            </a:r>
            <a:endParaRPr dirty="0"/>
          </a:p>
        </p:txBody>
      </p:sp>
      <p:sp>
        <p:nvSpPr>
          <p:cNvPr id="204" name="Google Shape;204;p31"/>
          <p:cNvSpPr txBox="1">
            <a:spLocks noGrp="1"/>
          </p:cNvSpPr>
          <p:nvPr>
            <p:ph type="title" idx="8"/>
          </p:nvPr>
        </p:nvSpPr>
        <p:spPr>
          <a:xfrm>
            <a:off x="3372225" y="2645500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/>
              <a:t>2</a:t>
            </a:r>
            <a:endParaRPr dirty="0"/>
          </a:p>
        </p:txBody>
      </p:sp>
      <p:sp>
        <p:nvSpPr>
          <p:cNvPr id="205" name="Google Shape;205;p31"/>
          <p:cNvSpPr txBox="1">
            <a:spLocks noGrp="1"/>
          </p:cNvSpPr>
          <p:nvPr>
            <p:ph type="title" idx="9"/>
          </p:nvPr>
        </p:nvSpPr>
        <p:spPr>
          <a:xfrm>
            <a:off x="3372225" y="377272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/>
              <a:t>3</a:t>
            </a:r>
            <a:endParaRPr/>
          </a:p>
        </p:txBody>
      </p:sp>
      <p:grpSp>
        <p:nvGrpSpPr>
          <p:cNvPr id="13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952428" y="1540038"/>
            <a:ext cx="573617" cy="542925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14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3"/>
          <p:cNvSpPr txBox="1">
            <a:spLocks noGrp="1"/>
          </p:cNvSpPr>
          <p:nvPr>
            <p:ph type="subTitle" idx="1"/>
          </p:nvPr>
        </p:nvSpPr>
        <p:spPr>
          <a:xfrm>
            <a:off x="2675901" y="2547750"/>
            <a:ext cx="3136200" cy="1941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B</a:t>
            </a:r>
            <a:r>
              <a:rPr lang="es" dirty="0" smtClean="0"/>
              <a:t>luh bluh bluh bluh</a:t>
            </a:r>
            <a:endParaRPr dirty="0"/>
          </a:p>
        </p:txBody>
      </p:sp>
      <p:sp>
        <p:nvSpPr>
          <p:cNvPr id="220" name="Google Shape;220;p33"/>
          <p:cNvSpPr txBox="1">
            <a:spLocks noGrp="1"/>
          </p:cNvSpPr>
          <p:nvPr>
            <p:ph type="title"/>
          </p:nvPr>
        </p:nvSpPr>
        <p:spPr>
          <a:xfrm>
            <a:off x="2675900" y="1220010"/>
            <a:ext cx="3926100" cy="1212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s" sz="3600" dirty="0">
                <a:solidFill>
                  <a:schemeClr val="dk2"/>
                </a:solidFill>
              </a:rPr>
              <a:t>I</a:t>
            </a:r>
            <a:r>
              <a:rPr lang="es" sz="3600" b="1" dirty="0">
                <a:solidFill>
                  <a:schemeClr val="dk2"/>
                </a:solidFill>
              </a:rPr>
              <a:t>mportant information</a:t>
            </a:r>
            <a:endParaRPr sz="3600" b="1" dirty="0">
              <a:solidFill>
                <a:schemeClr val="dk2"/>
              </a:solidFill>
            </a:endParaRPr>
          </a:p>
        </p:txBody>
      </p:sp>
      <p:sp>
        <p:nvSpPr>
          <p:cNvPr id="221" name="Google Shape;221;p33"/>
          <p:cNvSpPr/>
          <p:nvPr/>
        </p:nvSpPr>
        <p:spPr>
          <a:xfrm>
            <a:off x="1430400" y="1371450"/>
            <a:ext cx="1147200" cy="39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" smtClean="0"/>
              <a:pPr/>
              <a:t>4</a:t>
            </a:fld>
            <a:endParaRPr lang="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34"/>
          <p:cNvSpPr txBox="1">
            <a:spLocks noGrp="1"/>
          </p:cNvSpPr>
          <p:nvPr>
            <p:ph type="subTitle" idx="1"/>
          </p:nvPr>
        </p:nvSpPr>
        <p:spPr>
          <a:xfrm>
            <a:off x="1894475" y="1126950"/>
            <a:ext cx="5397600" cy="2100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s" sz="2700" dirty="0" smtClean="0"/>
              <a:t>“This Can be a quote.</a:t>
            </a:r>
            <a:endParaRPr sz="2700" b="1" i="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i="0" dirty="0"/>
          </a:p>
        </p:txBody>
      </p:sp>
      <p:sp>
        <p:nvSpPr>
          <p:cNvPr id="227" name="Google Shape;227;p34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5</a:t>
            </a:fld>
            <a:endParaRPr/>
          </a:p>
        </p:txBody>
      </p:sp>
      <p:sp>
        <p:nvSpPr>
          <p:cNvPr id="228" name="Google Shape;228;p34"/>
          <p:cNvSpPr txBox="1">
            <a:spLocks noGrp="1"/>
          </p:cNvSpPr>
          <p:nvPr>
            <p:ph type="subTitle" idx="2"/>
          </p:nvPr>
        </p:nvSpPr>
        <p:spPr>
          <a:xfrm>
            <a:off x="1894475" y="2843585"/>
            <a:ext cx="29208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>
                <a:solidFill>
                  <a:schemeClr val="lt1"/>
                </a:solidFill>
              </a:rPr>
              <a:t>—Someone famous</a:t>
            </a:r>
            <a:endParaRPr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p35"/>
          <p:cNvSpPr txBox="1">
            <a:spLocks noGrp="1"/>
          </p:cNvSpPr>
          <p:nvPr>
            <p:ph type="title"/>
          </p:nvPr>
        </p:nvSpPr>
        <p:spPr>
          <a:xfrm>
            <a:off x="4598900" y="1491800"/>
            <a:ext cx="3593700" cy="1206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s" dirty="0"/>
              <a:t>1. </a:t>
            </a:r>
            <a:r>
              <a:rPr lang="es" dirty="0" smtClean="0"/>
              <a:t>Title</a:t>
            </a:r>
            <a:endParaRPr dirty="0"/>
          </a:p>
        </p:txBody>
      </p:sp>
      <p:sp>
        <p:nvSpPr>
          <p:cNvPr id="234" name="Google Shape;234;p35"/>
          <p:cNvSpPr txBox="1">
            <a:spLocks noGrp="1"/>
          </p:cNvSpPr>
          <p:nvPr>
            <p:ph type="subTitle" idx="1"/>
          </p:nvPr>
        </p:nvSpPr>
        <p:spPr>
          <a:xfrm>
            <a:off x="4598900" y="2968192"/>
            <a:ext cx="2920800" cy="159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A summary</a:t>
            </a:r>
            <a:endParaRPr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" smtClean="0"/>
              <a:pPr/>
              <a:t>6</a:t>
            </a:fld>
            <a:endParaRPr lang="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1454050" y="1904925"/>
            <a:ext cx="5877000" cy="250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Main Explanation</a:t>
            </a:r>
            <a:endParaRPr dirty="0"/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2400" dirty="0" smtClean="0"/>
              <a:t>Title</a:t>
            </a:r>
            <a:endParaRPr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7</a:t>
            </a:fld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38"/>
          <p:cNvSpPr txBox="1">
            <a:spLocks noGrp="1"/>
          </p:cNvSpPr>
          <p:nvPr>
            <p:ph type="title"/>
          </p:nvPr>
        </p:nvSpPr>
        <p:spPr>
          <a:xfrm>
            <a:off x="626079" y="980260"/>
            <a:ext cx="3571500" cy="5781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s" b="1" dirty="0" smtClean="0"/>
              <a:t>Dividing to two</a:t>
            </a:r>
            <a:endParaRPr b="1" dirty="0"/>
          </a:p>
        </p:txBody>
      </p:sp>
      <p:sp>
        <p:nvSpPr>
          <p:cNvPr id="258" name="Google Shape;258;p38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>
                <a:solidFill>
                  <a:srgbClr val="B7B7B7"/>
                </a:solidFill>
              </a:rPr>
              <a:t>8</a:t>
            </a:fld>
            <a:endParaRPr>
              <a:solidFill>
                <a:srgbClr val="B7B7B7"/>
              </a:solidFill>
            </a:endParaRPr>
          </a:p>
        </p:txBody>
      </p:sp>
      <p:sp>
        <p:nvSpPr>
          <p:cNvPr id="259" name="Google Shape;259;p38"/>
          <p:cNvSpPr txBox="1">
            <a:spLocks noGrp="1"/>
          </p:cNvSpPr>
          <p:nvPr>
            <p:ph type="subTitle" idx="1"/>
          </p:nvPr>
        </p:nvSpPr>
        <p:spPr>
          <a:xfrm>
            <a:off x="626079" y="2261500"/>
            <a:ext cx="3606600" cy="1941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 smtClean="0"/>
              <a:t>Pros : 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 smtClean="0"/>
              <a:t>1.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 smtClean="0"/>
              <a:t>2.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 smtClean="0"/>
              <a:t>3.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 smtClean="0"/>
              <a:t>4.</a:t>
            </a:r>
            <a:endParaRPr b="1" dirty="0"/>
          </a:p>
        </p:txBody>
      </p:sp>
      <p:sp>
        <p:nvSpPr>
          <p:cNvPr id="260" name="Google Shape;260;p38"/>
          <p:cNvSpPr txBox="1">
            <a:spLocks noGrp="1"/>
          </p:cNvSpPr>
          <p:nvPr>
            <p:ph type="subTitle" idx="2"/>
          </p:nvPr>
        </p:nvSpPr>
        <p:spPr>
          <a:xfrm>
            <a:off x="5079304" y="2261500"/>
            <a:ext cx="3606600" cy="1941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 smtClean="0"/>
              <a:t>C</a:t>
            </a:r>
            <a:r>
              <a:rPr lang="es" b="1" dirty="0" smtClean="0"/>
              <a:t>ons : 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b="1" dirty="0" smtClean="0"/>
              <a:t>1.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b="1" dirty="0" smtClean="0"/>
              <a:t>2.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b="1" dirty="0" smtClean="0"/>
              <a:t>3.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b="1" dirty="0" smtClean="0"/>
              <a:t>4.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Google Shape;246;p37"/>
          <p:cNvSpPr txBox="1">
            <a:spLocks noGrp="1"/>
          </p:cNvSpPr>
          <p:nvPr>
            <p:ph type="title" idx="4"/>
          </p:nvPr>
        </p:nvSpPr>
        <p:spPr>
          <a:xfrm>
            <a:off x="-11850" y="927075"/>
            <a:ext cx="91440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2400" dirty="0" smtClean="0"/>
              <a:t>Dividing to two</a:t>
            </a:r>
            <a:endParaRPr sz="2400" dirty="0"/>
          </a:p>
        </p:txBody>
      </p:sp>
      <p:sp>
        <p:nvSpPr>
          <p:cNvPr id="247" name="Google Shape;247;p37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 sz="1200">
                <a:latin typeface="Arvo"/>
                <a:ea typeface="Arvo"/>
                <a:cs typeface="Arvo"/>
                <a:sym typeface="Arvo"/>
              </a:rPr>
              <a:t>9</a:t>
            </a:fld>
            <a:endParaRPr sz="1200">
              <a:latin typeface="Arvo"/>
              <a:ea typeface="Arvo"/>
              <a:cs typeface="Arvo"/>
              <a:sym typeface="Arvo"/>
            </a:endParaRPr>
          </a:p>
        </p:txBody>
      </p:sp>
      <p:cxnSp>
        <p:nvCxnSpPr>
          <p:cNvPr id="248" name="Google Shape;248;p37"/>
          <p:cNvCxnSpPr/>
          <p:nvPr/>
        </p:nvCxnSpPr>
        <p:spPr>
          <a:xfrm>
            <a:off x="4550550" y="1941425"/>
            <a:ext cx="0" cy="1927500"/>
          </a:xfrm>
          <a:prstGeom prst="straightConnector1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49" name="Google Shape;249;p37"/>
          <p:cNvSpPr txBox="1">
            <a:spLocks noGrp="1"/>
          </p:cNvSpPr>
          <p:nvPr>
            <p:ph type="ctrTitle"/>
          </p:nvPr>
        </p:nvSpPr>
        <p:spPr>
          <a:xfrm>
            <a:off x="1113228" y="1571550"/>
            <a:ext cx="31695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b="0" dirty="0" smtClean="0">
                <a:latin typeface="Ubuntu Medium"/>
                <a:ea typeface="Ubuntu Medium"/>
                <a:cs typeface="Ubuntu Medium"/>
                <a:sym typeface="Ubuntu Medium"/>
              </a:rPr>
              <a:t>Pros</a:t>
            </a:r>
            <a:endParaRPr dirty="0"/>
          </a:p>
        </p:txBody>
      </p:sp>
      <p:sp>
        <p:nvSpPr>
          <p:cNvPr id="250" name="Google Shape;250;p37"/>
          <p:cNvSpPr txBox="1">
            <a:spLocks noGrp="1"/>
          </p:cNvSpPr>
          <p:nvPr>
            <p:ph type="subTitle" idx="1"/>
          </p:nvPr>
        </p:nvSpPr>
        <p:spPr>
          <a:xfrm>
            <a:off x="1113225" y="2177000"/>
            <a:ext cx="3101400" cy="2122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1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2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3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4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5</a:t>
            </a:r>
            <a:r>
              <a:rPr lang="es" dirty="0"/>
              <a:t>.</a:t>
            </a:r>
            <a:endParaRPr lang="es" dirty="0" smtClean="0"/>
          </a:p>
        </p:txBody>
      </p:sp>
      <p:sp>
        <p:nvSpPr>
          <p:cNvPr id="251" name="Google Shape;251;p37"/>
          <p:cNvSpPr txBox="1">
            <a:spLocks noGrp="1"/>
          </p:cNvSpPr>
          <p:nvPr>
            <p:ph type="ctrTitle" idx="2"/>
          </p:nvPr>
        </p:nvSpPr>
        <p:spPr>
          <a:xfrm>
            <a:off x="4818378" y="1571550"/>
            <a:ext cx="31695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Cons</a:t>
            </a:r>
            <a:endParaRPr dirty="0"/>
          </a:p>
        </p:txBody>
      </p:sp>
      <p:sp>
        <p:nvSpPr>
          <p:cNvPr id="252" name="Google Shape;252;p37"/>
          <p:cNvSpPr txBox="1">
            <a:spLocks noGrp="1"/>
          </p:cNvSpPr>
          <p:nvPr>
            <p:ph type="subTitle" idx="3"/>
          </p:nvPr>
        </p:nvSpPr>
        <p:spPr>
          <a:xfrm>
            <a:off x="4818375" y="2177000"/>
            <a:ext cx="3101400" cy="2122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1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2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3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4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5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*light bulb*electricity*creativity*innovatio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heme/theme1.xml><?xml version="1.0" encoding="utf-8"?>
<a:theme xmlns:a="http://schemas.openxmlformats.org/drawingml/2006/main" name="Minimal Charm">
  <a:themeElements>
    <a:clrScheme name="Custom 46">
      <a:dk1>
        <a:srgbClr val="F2F2F2"/>
      </a:dk1>
      <a:lt1>
        <a:srgbClr val="FFFFFF"/>
      </a:lt1>
      <a:dk2>
        <a:srgbClr val="666666"/>
      </a:dk2>
      <a:lt2>
        <a:srgbClr val="999999"/>
      </a:lt2>
      <a:accent1>
        <a:srgbClr val="30B854"/>
      </a:accent1>
      <a:accent2>
        <a:srgbClr val="BEEECA"/>
      </a:accent2>
      <a:accent3>
        <a:srgbClr val="1F7A37"/>
      </a:accent3>
      <a:accent4>
        <a:srgbClr val="1F7A37"/>
      </a:accent4>
      <a:accent5>
        <a:srgbClr val="135CE7"/>
      </a:accent5>
      <a:accent6>
        <a:srgbClr val="B7C8E9"/>
      </a:accent6>
      <a:hlink>
        <a:srgbClr val="434343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3</TotalTime>
  <Words>248</Words>
  <Application>Microsoft Office PowerPoint</Application>
  <PresentationFormat>On-screen Show (16:9)</PresentationFormat>
  <Paragraphs>104</Paragraphs>
  <Slides>14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Ubuntu Light</vt:lpstr>
      <vt:lpstr>Arvo</vt:lpstr>
      <vt:lpstr>Calibri</vt:lpstr>
      <vt:lpstr>Ubuntu</vt:lpstr>
      <vt:lpstr>Arial</vt:lpstr>
      <vt:lpstr>Bodoni</vt:lpstr>
      <vt:lpstr>Ubuntu Medium</vt:lpstr>
      <vt:lpstr>Minimal Charm</vt:lpstr>
      <vt:lpstr>presentation begins</vt:lpstr>
      <vt:lpstr>Welcome!</vt:lpstr>
      <vt:lpstr>Contents</vt:lpstr>
      <vt:lpstr>Important information</vt:lpstr>
      <vt:lpstr>PowerPoint Presentation</vt:lpstr>
      <vt:lpstr>1. Title</vt:lpstr>
      <vt:lpstr>Title</vt:lpstr>
      <vt:lpstr>Dividing to two</vt:lpstr>
      <vt:lpstr>Dividing to two</vt:lpstr>
      <vt:lpstr>Timeline (Other modules also available)</vt:lpstr>
      <vt:lpstr>123</vt:lpstr>
      <vt:lpstr>Infographics …</vt:lpstr>
      <vt:lpstr>… and the same goes for tables</vt:lpstr>
      <vt:lpstr>Thanks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begins</dc:title>
  <cp:lastModifiedBy>Maryam Tashvighi</cp:lastModifiedBy>
  <cp:revision>28</cp:revision>
  <dcterms:modified xsi:type="dcterms:W3CDTF">2020-07-20T15:32:14Z</dcterms:modified>
</cp:coreProperties>
</file>